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6" r:id="rId4"/>
  </p:sldMasterIdLst>
  <p:notesMasterIdLst>
    <p:notesMasterId r:id="rId16"/>
  </p:notesMasterIdLst>
  <p:handoutMasterIdLst>
    <p:handoutMasterId r:id="rId17"/>
  </p:handoutMasterIdLst>
  <p:sldIdLst>
    <p:sldId id="306" r:id="rId5"/>
    <p:sldId id="272" r:id="rId6"/>
    <p:sldId id="2147470258" r:id="rId7"/>
    <p:sldId id="2147470270" r:id="rId8"/>
    <p:sldId id="2147470278" r:id="rId9"/>
    <p:sldId id="2147470273" r:id="rId10"/>
    <p:sldId id="308" r:id="rId11"/>
    <p:sldId id="2147470275" r:id="rId12"/>
    <p:sldId id="2147470276" r:id="rId13"/>
    <p:sldId id="2147470277" r:id="rId14"/>
    <p:sldId id="310" r:id="rId15"/>
  </p:sldIdLst>
  <p:sldSz cx="12192000" cy="6858000"/>
  <p:notesSz cx="6858000" cy="9144000"/>
  <p:defaultTextStyle>
    <a:defPPr rtl="0"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92" userDrawn="1">
          <p15:clr>
            <a:srgbClr val="A4A3A4"/>
          </p15:clr>
        </p15:guide>
        <p15:guide id="2" pos="7056" userDrawn="1">
          <p15:clr>
            <a:srgbClr val="A4A3A4"/>
          </p15:clr>
        </p15:guide>
        <p15:guide id="3" orient="horz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Stile chiaro 2 - Color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58" autoAdjust="0"/>
    <p:restoredTop sz="84967" autoAdjust="0"/>
  </p:normalViewPr>
  <p:slideViewPr>
    <p:cSldViewPr snapToGrid="0">
      <p:cViewPr varScale="1">
        <p:scale>
          <a:sx n="67" d="100"/>
          <a:sy n="67" d="100"/>
        </p:scale>
        <p:origin x="452" y="44"/>
      </p:cViewPr>
      <p:guideLst>
        <p:guide orient="horz" pos="1392"/>
        <p:guide pos="7056"/>
        <p:guide orient="horz" pos="31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73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coloredoutline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C0B14E-AEA6-48D3-A387-ED4A3A3BF840}" type="doc">
      <dgm:prSet loTypeId="urn:microsoft.com/office/officeart/2016/7/layout/AccentHomeChevronProcess" loCatId="process" qsTypeId="urn:microsoft.com/office/officeart/2005/8/quickstyle/simple1" qsCatId="simple" csTypeId="urn:microsoft.com/office/officeart/2018/5/colors/Iconchunking_coloredoutline_colorful1" csCatId="colorful" phldr="1"/>
      <dgm:spPr/>
      <dgm:t>
        <a:bodyPr rtlCol="0"/>
        <a:lstStyle/>
        <a:p>
          <a:pPr rtl="0"/>
          <a:endParaRPr lang="en-US"/>
        </a:p>
      </dgm:t>
    </dgm:pt>
    <dgm:pt modelId="{349299C9-846E-4827-813A-349CCCE20782}">
      <dgm:prSet phldrT="[Text]"/>
      <dgm:spPr/>
      <dgm:t>
        <a:bodyPr rtlCol="0"/>
        <a:lstStyle/>
        <a:p>
          <a:pPr rtl="0"/>
          <a:r>
            <a:rPr lang="it-IT" noProof="0" dirty="0"/>
            <a:t>DICEMBRE 2022</a:t>
          </a:r>
        </a:p>
      </dgm:t>
    </dgm:pt>
    <dgm:pt modelId="{AEA27547-B9ED-4994-BD27-04EC297EF367}" type="parTrans" cxnId="{0EFA3039-6828-403C-9445-4359BA6645E6}">
      <dgm:prSet/>
      <dgm:spPr/>
      <dgm:t>
        <a:bodyPr rtlCol="0"/>
        <a:lstStyle/>
        <a:p>
          <a:pPr rtl="0"/>
          <a:endParaRPr lang="it-IT" noProof="0" dirty="0"/>
        </a:p>
      </dgm:t>
    </dgm:pt>
    <dgm:pt modelId="{9D819F52-ACA0-4B08-8256-DF6BD8FA3A0B}" type="sibTrans" cxnId="{0EFA3039-6828-403C-9445-4359BA6645E6}">
      <dgm:prSet/>
      <dgm:spPr/>
      <dgm:t>
        <a:bodyPr rtlCol="0"/>
        <a:lstStyle/>
        <a:p>
          <a:pPr rtl="0"/>
          <a:endParaRPr lang="it-IT" noProof="0" dirty="0"/>
        </a:p>
      </dgm:t>
    </dgm:pt>
    <dgm:pt modelId="{5D70EFF5-8B31-4A1F-AE44-51E4CF0013EB}">
      <dgm:prSet phldrT="[Text]"/>
      <dgm:spPr/>
      <dgm:t>
        <a:bodyPr rtlCol="0"/>
        <a:lstStyle/>
        <a:p>
          <a:pPr rtl="0"/>
          <a:endParaRPr lang="it-IT" noProof="0" dirty="0"/>
        </a:p>
      </dgm:t>
    </dgm:pt>
    <dgm:pt modelId="{96C720A0-FEEF-48D1-8DF6-ABA03C304822}" type="parTrans" cxnId="{E97FF64F-8020-497E-AE7D-2395DDA4560D}">
      <dgm:prSet/>
      <dgm:spPr/>
      <dgm:t>
        <a:bodyPr rtlCol="0"/>
        <a:lstStyle/>
        <a:p>
          <a:pPr rtl="0"/>
          <a:endParaRPr lang="it-IT" noProof="0" dirty="0"/>
        </a:p>
      </dgm:t>
    </dgm:pt>
    <dgm:pt modelId="{B6A59CDE-18AD-4553-B6C5-FF001A8E8510}" type="sibTrans" cxnId="{E97FF64F-8020-497E-AE7D-2395DDA4560D}">
      <dgm:prSet/>
      <dgm:spPr/>
      <dgm:t>
        <a:bodyPr rtlCol="0"/>
        <a:lstStyle/>
        <a:p>
          <a:pPr rtl="0"/>
          <a:endParaRPr lang="it-IT" noProof="0" dirty="0"/>
        </a:p>
      </dgm:t>
    </dgm:pt>
    <dgm:pt modelId="{D71FC021-6A65-44D1-95B9-0E6C89079866}">
      <dgm:prSet phldrT="[Text]"/>
      <dgm:spPr>
        <a:solidFill>
          <a:schemeClr val="accent5"/>
        </a:solidFill>
        <a:ln>
          <a:solidFill>
            <a:schemeClr val="accent5"/>
          </a:solidFill>
        </a:ln>
      </dgm:spPr>
      <dgm:t>
        <a:bodyPr rtlCol="0"/>
        <a:lstStyle/>
        <a:p>
          <a:pPr rtl="0"/>
          <a:r>
            <a:rPr lang="it-IT" noProof="0" dirty="0"/>
            <a:t>FEBBRAIO 2023</a:t>
          </a:r>
        </a:p>
      </dgm:t>
    </dgm:pt>
    <dgm:pt modelId="{862AAE39-3AAD-40E3-BA20-90187BD73242}" type="parTrans" cxnId="{53239C96-427C-420B-95DC-546F3B30ED65}">
      <dgm:prSet/>
      <dgm:spPr/>
      <dgm:t>
        <a:bodyPr rtlCol="0"/>
        <a:lstStyle/>
        <a:p>
          <a:pPr rtl="0"/>
          <a:endParaRPr lang="it-IT" noProof="0" dirty="0"/>
        </a:p>
      </dgm:t>
    </dgm:pt>
    <dgm:pt modelId="{9B090D9D-470E-46E2-AABB-0368A52481AA}" type="sibTrans" cxnId="{53239C96-427C-420B-95DC-546F3B30ED65}">
      <dgm:prSet/>
      <dgm:spPr/>
      <dgm:t>
        <a:bodyPr rtlCol="0"/>
        <a:lstStyle/>
        <a:p>
          <a:pPr rtl="0"/>
          <a:endParaRPr lang="it-IT" noProof="0" dirty="0"/>
        </a:p>
      </dgm:t>
    </dgm:pt>
    <dgm:pt modelId="{4A6BB192-9983-4F48-BBC5-6E384EED7EC5}">
      <dgm:prSet phldrT="[Text]"/>
      <dgm:spPr/>
      <dgm:t>
        <a:bodyPr rtlCol="0"/>
        <a:lstStyle/>
        <a:p>
          <a:pPr rtl="0"/>
          <a:endParaRPr lang="it-IT" noProof="0" dirty="0"/>
        </a:p>
      </dgm:t>
    </dgm:pt>
    <dgm:pt modelId="{230A6E4A-6CED-4DC0-AEFE-6859FE07B658}" type="parTrans" cxnId="{E3115EEA-DE9C-4F06-B8B3-BEB263D5F2B1}">
      <dgm:prSet/>
      <dgm:spPr/>
      <dgm:t>
        <a:bodyPr rtlCol="0"/>
        <a:lstStyle/>
        <a:p>
          <a:pPr rtl="0"/>
          <a:endParaRPr lang="it-IT" noProof="0" dirty="0"/>
        </a:p>
      </dgm:t>
    </dgm:pt>
    <dgm:pt modelId="{0B568EC2-5D2A-4B00-8047-B7832F245B44}" type="sibTrans" cxnId="{E3115EEA-DE9C-4F06-B8B3-BEB263D5F2B1}">
      <dgm:prSet/>
      <dgm:spPr/>
      <dgm:t>
        <a:bodyPr rtlCol="0"/>
        <a:lstStyle/>
        <a:p>
          <a:pPr rtl="0"/>
          <a:endParaRPr lang="it-IT" noProof="0" dirty="0"/>
        </a:p>
      </dgm:t>
    </dgm:pt>
    <dgm:pt modelId="{5EDA317F-AB2E-47DE-BA46-16FA60C3C561}">
      <dgm:prSet phldrT="[Text]"/>
      <dgm:spPr>
        <a:solidFill>
          <a:schemeClr val="accent3"/>
        </a:solidFill>
        <a:ln>
          <a:solidFill>
            <a:schemeClr val="accent3"/>
          </a:solidFill>
        </a:ln>
      </dgm:spPr>
      <dgm:t>
        <a:bodyPr rtlCol="0"/>
        <a:lstStyle/>
        <a:p>
          <a:pPr rtl="0"/>
          <a:r>
            <a:rPr lang="it-IT" noProof="0" dirty="0"/>
            <a:t>MARZO 2023</a:t>
          </a:r>
        </a:p>
      </dgm:t>
    </dgm:pt>
    <dgm:pt modelId="{775EBB35-E8CF-4A14-B0A8-45A53D65E711}" type="parTrans" cxnId="{7B8F902E-4BA3-41AA-9991-54805A6B93DE}">
      <dgm:prSet/>
      <dgm:spPr/>
      <dgm:t>
        <a:bodyPr rtlCol="0"/>
        <a:lstStyle/>
        <a:p>
          <a:pPr rtl="0"/>
          <a:endParaRPr lang="it-IT" noProof="0" dirty="0"/>
        </a:p>
      </dgm:t>
    </dgm:pt>
    <dgm:pt modelId="{A75B061E-69EA-487C-8330-1430DA0F139D}" type="sibTrans" cxnId="{7B8F902E-4BA3-41AA-9991-54805A6B93DE}">
      <dgm:prSet/>
      <dgm:spPr/>
      <dgm:t>
        <a:bodyPr rtlCol="0"/>
        <a:lstStyle/>
        <a:p>
          <a:pPr rtl="0"/>
          <a:endParaRPr lang="it-IT" noProof="0" dirty="0"/>
        </a:p>
      </dgm:t>
    </dgm:pt>
    <dgm:pt modelId="{F757DBC8-3670-4122-937A-47DB91C0F3FE}">
      <dgm:prSet phldrT="[Text]"/>
      <dgm:spPr/>
      <dgm:t>
        <a:bodyPr rtlCol="0"/>
        <a:lstStyle/>
        <a:p>
          <a:pPr rtl="0"/>
          <a:endParaRPr lang="it-IT" noProof="0" dirty="0"/>
        </a:p>
      </dgm:t>
    </dgm:pt>
    <dgm:pt modelId="{8F483F27-8D97-48E5-9210-1B448F1CE277}" type="parTrans" cxnId="{8A3D4B73-3658-4A4C-9DFE-F59E22A79482}">
      <dgm:prSet/>
      <dgm:spPr/>
      <dgm:t>
        <a:bodyPr rtlCol="0"/>
        <a:lstStyle/>
        <a:p>
          <a:pPr rtl="0"/>
          <a:endParaRPr lang="it-IT" noProof="0" dirty="0"/>
        </a:p>
      </dgm:t>
    </dgm:pt>
    <dgm:pt modelId="{A46A41DD-2CA4-4800-8F85-546ABB24ED07}" type="sibTrans" cxnId="{8A3D4B73-3658-4A4C-9DFE-F59E22A79482}">
      <dgm:prSet/>
      <dgm:spPr/>
      <dgm:t>
        <a:bodyPr rtlCol="0"/>
        <a:lstStyle/>
        <a:p>
          <a:pPr rtl="0"/>
          <a:endParaRPr lang="it-IT" noProof="0" dirty="0"/>
        </a:p>
      </dgm:t>
    </dgm:pt>
    <dgm:pt modelId="{7B2FF309-5120-45E2-ACC8-F8FAA9DBDA55}">
      <dgm:prSet phldrT="[Text]"/>
      <dgm:spPr>
        <a:solidFill>
          <a:schemeClr val="accent4"/>
        </a:solidFill>
        <a:ln>
          <a:solidFill>
            <a:schemeClr val="accent4"/>
          </a:solidFill>
        </a:ln>
      </dgm:spPr>
      <dgm:t>
        <a:bodyPr rtlCol="0"/>
        <a:lstStyle/>
        <a:p>
          <a:pPr rtl="0"/>
          <a:r>
            <a:rPr lang="it-IT" noProof="0" dirty="0"/>
            <a:t>APRILE</a:t>
          </a:r>
          <a:r>
            <a:rPr lang="it-IT" baseline="0" noProof="0" dirty="0"/>
            <a:t> 2023</a:t>
          </a:r>
          <a:endParaRPr lang="it-IT" noProof="0" dirty="0"/>
        </a:p>
      </dgm:t>
    </dgm:pt>
    <dgm:pt modelId="{2CF5AF8A-5687-489A-9838-EDDBB760D421}" type="parTrans" cxnId="{D35DB9DA-961B-46CD-BB14-44CD766D8CB7}">
      <dgm:prSet/>
      <dgm:spPr/>
      <dgm:t>
        <a:bodyPr rtlCol="0"/>
        <a:lstStyle/>
        <a:p>
          <a:pPr rtl="0"/>
          <a:endParaRPr lang="it-IT" noProof="0" dirty="0"/>
        </a:p>
      </dgm:t>
    </dgm:pt>
    <dgm:pt modelId="{D5CAA101-B828-45D7-965B-F77CD6FBA109}" type="sibTrans" cxnId="{D35DB9DA-961B-46CD-BB14-44CD766D8CB7}">
      <dgm:prSet/>
      <dgm:spPr/>
      <dgm:t>
        <a:bodyPr rtlCol="0"/>
        <a:lstStyle/>
        <a:p>
          <a:pPr rtl="0"/>
          <a:endParaRPr lang="it-IT" noProof="0" dirty="0"/>
        </a:p>
      </dgm:t>
    </dgm:pt>
    <dgm:pt modelId="{EE155DB2-6788-4019-961C-F8B89C275CE8}">
      <dgm:prSet phldrT="[Text]"/>
      <dgm:spPr/>
      <dgm:t>
        <a:bodyPr rtlCol="0"/>
        <a:lstStyle/>
        <a:p>
          <a:pPr rtl="0"/>
          <a:endParaRPr lang="it-IT" noProof="0" dirty="0"/>
        </a:p>
      </dgm:t>
    </dgm:pt>
    <dgm:pt modelId="{8395B9D5-FF39-4045-8569-9C13F11FB1E5}" type="parTrans" cxnId="{E3D274C7-DB39-45B8-B18F-742495FE5026}">
      <dgm:prSet/>
      <dgm:spPr/>
      <dgm:t>
        <a:bodyPr rtlCol="0"/>
        <a:lstStyle/>
        <a:p>
          <a:pPr rtl="0"/>
          <a:endParaRPr lang="it-IT" noProof="0" dirty="0"/>
        </a:p>
      </dgm:t>
    </dgm:pt>
    <dgm:pt modelId="{F94C628D-62C1-4AF5-B102-2A2AA7FD22DE}" type="sibTrans" cxnId="{E3D274C7-DB39-45B8-B18F-742495FE5026}">
      <dgm:prSet/>
      <dgm:spPr/>
      <dgm:t>
        <a:bodyPr rtlCol="0"/>
        <a:lstStyle/>
        <a:p>
          <a:pPr rtl="0"/>
          <a:endParaRPr lang="it-IT" noProof="0" dirty="0"/>
        </a:p>
      </dgm:t>
    </dgm:pt>
    <dgm:pt modelId="{D07AD3FD-84FF-467E-9693-752776549C61}">
      <dgm:prSet phldrT="[Text]"/>
      <dgm:spPr>
        <a:solidFill>
          <a:schemeClr val="accent1"/>
        </a:solidFill>
        <a:ln>
          <a:solidFill>
            <a:schemeClr val="accent1"/>
          </a:solidFill>
        </a:ln>
      </dgm:spPr>
      <dgm:t>
        <a:bodyPr rtlCol="0"/>
        <a:lstStyle/>
        <a:p>
          <a:pPr rtl="0"/>
          <a:r>
            <a:rPr lang="it-IT" noProof="0" dirty="0"/>
            <a:t>GENNAIO 2023</a:t>
          </a:r>
        </a:p>
      </dgm:t>
    </dgm:pt>
    <dgm:pt modelId="{A8C9B7A9-BC2A-4753-B7F0-F2E361D95520}" type="sibTrans" cxnId="{55492768-9A5E-4F74-AC7C-959C5C24EFD3}">
      <dgm:prSet/>
      <dgm:spPr/>
      <dgm:t>
        <a:bodyPr rtlCol="0"/>
        <a:lstStyle/>
        <a:p>
          <a:pPr rtl="0"/>
          <a:endParaRPr lang="it-IT" noProof="0" dirty="0"/>
        </a:p>
      </dgm:t>
    </dgm:pt>
    <dgm:pt modelId="{7B691773-F524-4FAD-A272-BDF0B0C4370A}" type="parTrans" cxnId="{55492768-9A5E-4F74-AC7C-959C5C24EFD3}">
      <dgm:prSet/>
      <dgm:spPr/>
      <dgm:t>
        <a:bodyPr rtlCol="0"/>
        <a:lstStyle/>
        <a:p>
          <a:pPr rtl="0"/>
          <a:endParaRPr lang="it-IT" noProof="0" dirty="0"/>
        </a:p>
      </dgm:t>
    </dgm:pt>
    <dgm:pt modelId="{594BF422-752C-42F3-A230-3D0E6AE9A886}" type="pres">
      <dgm:prSet presAssocID="{55C0B14E-AEA6-48D3-A387-ED4A3A3BF840}" presName="Name0" presStyleCnt="0">
        <dgm:presLayoutVars>
          <dgm:animLvl val="lvl"/>
          <dgm:resizeHandles val="exact"/>
        </dgm:presLayoutVars>
      </dgm:prSet>
      <dgm:spPr/>
    </dgm:pt>
    <dgm:pt modelId="{4F44A992-7DCD-4A16-BA46-F588521847A1}" type="pres">
      <dgm:prSet presAssocID="{349299C9-846E-4827-813A-349CCCE20782}" presName="composite" presStyleCnt="0"/>
      <dgm:spPr/>
    </dgm:pt>
    <dgm:pt modelId="{3F2749E8-685F-418B-BCB7-6ED2C01CAA64}" type="pres">
      <dgm:prSet presAssocID="{349299C9-846E-4827-813A-349CCCE20782}" presName="L" presStyleLbl="solidFgAcc1" presStyleIdx="0" presStyleCnt="5">
        <dgm:presLayoutVars>
          <dgm:chMax val="0"/>
          <dgm:chPref val="0"/>
        </dgm:presLayoutVars>
      </dgm:prSet>
      <dgm:spPr/>
    </dgm:pt>
    <dgm:pt modelId="{9D8FC541-EA2A-4958-B544-74250B3F8963}" type="pres">
      <dgm:prSet presAssocID="{349299C9-846E-4827-813A-349CCCE20782}" presName="parTx" presStyleLbl="alignNode1" presStyleIdx="0" presStyleCnt="5">
        <dgm:presLayoutVars>
          <dgm:chMax val="0"/>
          <dgm:chPref val="0"/>
          <dgm:bulletEnabled val="1"/>
        </dgm:presLayoutVars>
      </dgm:prSet>
      <dgm:spPr/>
    </dgm:pt>
    <dgm:pt modelId="{178571DB-D3F4-4F43-88BA-189C59278494}" type="pres">
      <dgm:prSet presAssocID="{349299C9-846E-4827-813A-349CCCE20782}" presName="desTx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E9145B06-86A8-4BC9-968C-46095C2D1D3B}" type="pres">
      <dgm:prSet presAssocID="{349299C9-846E-4827-813A-349CCCE20782}" presName="EmptyPlaceHolder" presStyleCnt="0"/>
      <dgm:spPr/>
    </dgm:pt>
    <dgm:pt modelId="{F4D1BE68-26C7-4511-B3D7-880B358D7E82}" type="pres">
      <dgm:prSet presAssocID="{9D819F52-ACA0-4B08-8256-DF6BD8FA3A0B}" presName="space" presStyleCnt="0"/>
      <dgm:spPr/>
    </dgm:pt>
    <dgm:pt modelId="{EC37843F-14A6-4E20-B7AE-2B086A8F5F45}" type="pres">
      <dgm:prSet presAssocID="{D07AD3FD-84FF-467E-9693-752776549C61}" presName="composite" presStyleCnt="0"/>
      <dgm:spPr/>
    </dgm:pt>
    <dgm:pt modelId="{E41E7729-FD3F-426D-804C-45BD60BD762D}" type="pres">
      <dgm:prSet presAssocID="{D07AD3FD-84FF-467E-9693-752776549C61}" presName="L" presStyleLbl="solidFgAcc1" presStyleIdx="1" presStyleCnt="5">
        <dgm:presLayoutVars>
          <dgm:chMax val="0"/>
          <dgm:chPref val="0"/>
        </dgm:presLayoutVars>
      </dgm:prSet>
      <dgm:spPr>
        <a:ln>
          <a:solidFill>
            <a:schemeClr val="accent1"/>
          </a:solidFill>
        </a:ln>
      </dgm:spPr>
    </dgm:pt>
    <dgm:pt modelId="{6C46E586-0364-4C52-98F9-74A7ACD803D1}" type="pres">
      <dgm:prSet presAssocID="{D07AD3FD-84FF-467E-9693-752776549C61}" presName="parTx" presStyleLbl="alignNode1" presStyleIdx="1" presStyleCnt="5">
        <dgm:presLayoutVars>
          <dgm:chMax val="0"/>
          <dgm:chPref val="0"/>
          <dgm:bulletEnabled val="1"/>
        </dgm:presLayoutVars>
      </dgm:prSet>
      <dgm:spPr/>
    </dgm:pt>
    <dgm:pt modelId="{5E07F9E4-149C-4A89-848F-4ABDD305F0C5}" type="pres">
      <dgm:prSet presAssocID="{D07AD3FD-84FF-467E-9693-752776549C61}" presName="desTx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2928FCAD-BE3F-45AC-93A5-FD98F8A50E00}" type="pres">
      <dgm:prSet presAssocID="{D07AD3FD-84FF-467E-9693-752776549C61}" presName="EmptyPlaceHolder" presStyleCnt="0"/>
      <dgm:spPr/>
    </dgm:pt>
    <dgm:pt modelId="{C2DF8D93-19C7-4E07-BCAF-9FAAB62C8CF2}" type="pres">
      <dgm:prSet presAssocID="{A8C9B7A9-BC2A-4753-B7F0-F2E361D95520}" presName="space" presStyleCnt="0"/>
      <dgm:spPr/>
    </dgm:pt>
    <dgm:pt modelId="{86E313B1-36D3-44D7-907E-22A08CB8E9CC}" type="pres">
      <dgm:prSet presAssocID="{D71FC021-6A65-44D1-95B9-0E6C89079866}" presName="composite" presStyleCnt="0"/>
      <dgm:spPr/>
    </dgm:pt>
    <dgm:pt modelId="{473F2067-7126-4D56-A328-5A8CFD3D8D52}" type="pres">
      <dgm:prSet presAssocID="{D71FC021-6A65-44D1-95B9-0E6C89079866}" presName="L" presStyleLbl="solidFgAcc1" presStyleIdx="2" presStyleCnt="5">
        <dgm:presLayoutVars>
          <dgm:chMax val="0"/>
          <dgm:chPref val="0"/>
        </dgm:presLayoutVars>
      </dgm:prSet>
      <dgm:spPr>
        <a:ln>
          <a:solidFill>
            <a:schemeClr val="accent5"/>
          </a:solidFill>
        </a:ln>
      </dgm:spPr>
    </dgm:pt>
    <dgm:pt modelId="{7A0B5EFC-88FB-4ED5-994F-D5F6584C2293}" type="pres">
      <dgm:prSet presAssocID="{D71FC021-6A65-44D1-95B9-0E6C89079866}" presName="parTx" presStyleLbl="alignNode1" presStyleIdx="2" presStyleCnt="5">
        <dgm:presLayoutVars>
          <dgm:chMax val="0"/>
          <dgm:chPref val="0"/>
          <dgm:bulletEnabled val="1"/>
        </dgm:presLayoutVars>
      </dgm:prSet>
      <dgm:spPr/>
    </dgm:pt>
    <dgm:pt modelId="{FD7B29F2-0D66-4B4B-BC8A-82DA23575305}" type="pres">
      <dgm:prSet presAssocID="{D71FC021-6A65-44D1-95B9-0E6C89079866}" presName="desTx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BABAA172-7B81-4C6B-BCF2-4572322515C5}" type="pres">
      <dgm:prSet presAssocID="{D71FC021-6A65-44D1-95B9-0E6C89079866}" presName="EmptyPlaceHolder" presStyleCnt="0"/>
      <dgm:spPr/>
    </dgm:pt>
    <dgm:pt modelId="{0B65942F-B336-42B6-A72B-DA6B6B07B79B}" type="pres">
      <dgm:prSet presAssocID="{9B090D9D-470E-46E2-AABB-0368A52481AA}" presName="space" presStyleCnt="0"/>
      <dgm:spPr/>
    </dgm:pt>
    <dgm:pt modelId="{1D5539F6-8B97-4801-8139-D49EE44FFF3E}" type="pres">
      <dgm:prSet presAssocID="{5EDA317F-AB2E-47DE-BA46-16FA60C3C561}" presName="composite" presStyleCnt="0"/>
      <dgm:spPr/>
    </dgm:pt>
    <dgm:pt modelId="{2377F551-4CF6-4656-B644-60A7FC1B0F64}" type="pres">
      <dgm:prSet presAssocID="{5EDA317F-AB2E-47DE-BA46-16FA60C3C561}" presName="L" presStyleLbl="solidFgAcc1" presStyleIdx="3" presStyleCnt="5">
        <dgm:presLayoutVars>
          <dgm:chMax val="0"/>
          <dgm:chPref val="0"/>
        </dgm:presLayoutVars>
      </dgm:prSet>
      <dgm:spPr>
        <a:ln>
          <a:solidFill>
            <a:schemeClr val="accent3"/>
          </a:solidFill>
        </a:ln>
      </dgm:spPr>
    </dgm:pt>
    <dgm:pt modelId="{69ED255C-64AC-4764-BC2C-7679ECCC9FE9}" type="pres">
      <dgm:prSet presAssocID="{5EDA317F-AB2E-47DE-BA46-16FA60C3C561}" presName="parTx" presStyleLbl="alignNode1" presStyleIdx="3" presStyleCnt="5">
        <dgm:presLayoutVars>
          <dgm:chMax val="0"/>
          <dgm:chPref val="0"/>
          <dgm:bulletEnabled val="1"/>
        </dgm:presLayoutVars>
      </dgm:prSet>
      <dgm:spPr/>
    </dgm:pt>
    <dgm:pt modelId="{1F1B09A6-DA7E-41D1-B8A6-E3B6E775E5C1}" type="pres">
      <dgm:prSet presAssocID="{5EDA317F-AB2E-47DE-BA46-16FA60C3C561}" presName="desTx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89DACDC6-8676-47A4-A430-164754F46172}" type="pres">
      <dgm:prSet presAssocID="{5EDA317F-AB2E-47DE-BA46-16FA60C3C561}" presName="EmptyPlaceHolder" presStyleCnt="0"/>
      <dgm:spPr/>
    </dgm:pt>
    <dgm:pt modelId="{38A6C30B-D5BF-4A1A-A273-D265DC00F2EC}" type="pres">
      <dgm:prSet presAssocID="{A75B061E-69EA-487C-8330-1430DA0F139D}" presName="space" presStyleCnt="0"/>
      <dgm:spPr/>
    </dgm:pt>
    <dgm:pt modelId="{761684DA-3DB5-4618-9A30-6E2731CDFCA3}" type="pres">
      <dgm:prSet presAssocID="{7B2FF309-5120-45E2-ACC8-F8FAA9DBDA55}" presName="composite" presStyleCnt="0"/>
      <dgm:spPr/>
    </dgm:pt>
    <dgm:pt modelId="{E2C584B7-5B6E-4F6E-A7B8-E679FEF7BC4D}" type="pres">
      <dgm:prSet presAssocID="{7B2FF309-5120-45E2-ACC8-F8FAA9DBDA55}" presName="L" presStyleLbl="solidFgAcc1" presStyleIdx="4" presStyleCnt="5">
        <dgm:presLayoutVars>
          <dgm:chMax val="0"/>
          <dgm:chPref val="0"/>
        </dgm:presLayoutVars>
      </dgm:prSet>
      <dgm:spPr>
        <a:ln>
          <a:solidFill>
            <a:schemeClr val="accent4"/>
          </a:solidFill>
        </a:ln>
      </dgm:spPr>
    </dgm:pt>
    <dgm:pt modelId="{B89F8758-DA9D-4018-859A-710084D7ABF3}" type="pres">
      <dgm:prSet presAssocID="{7B2FF309-5120-45E2-ACC8-F8FAA9DBDA55}" presName="parTx" presStyleLbl="alignNode1" presStyleIdx="4" presStyleCnt="5" custLinFactNeighborX="94">
        <dgm:presLayoutVars>
          <dgm:chMax val="0"/>
          <dgm:chPref val="0"/>
          <dgm:bulletEnabled val="1"/>
        </dgm:presLayoutVars>
      </dgm:prSet>
      <dgm:spPr/>
    </dgm:pt>
    <dgm:pt modelId="{B73D2BBA-574C-491E-A31C-8B6EA5CC871A}" type="pres">
      <dgm:prSet presAssocID="{7B2FF309-5120-45E2-ACC8-F8FAA9DBDA55}" presName="desTx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DC9D8E0A-674F-4E74-BF10-5C0EF64E638E}" type="pres">
      <dgm:prSet presAssocID="{7B2FF309-5120-45E2-ACC8-F8FAA9DBDA55}" presName="EmptyPlaceHolder" presStyleCnt="0"/>
      <dgm:spPr/>
    </dgm:pt>
  </dgm:ptLst>
  <dgm:cxnLst>
    <dgm:cxn modelId="{A903DE1B-AC8A-4C77-850B-32A9F4D87BCB}" type="presOf" srcId="{5EDA317F-AB2E-47DE-BA46-16FA60C3C561}" destId="{69ED255C-64AC-4764-BC2C-7679ECCC9FE9}" srcOrd="0" destOrd="0" presId="urn:microsoft.com/office/officeart/2016/7/layout/AccentHomeChevronProcess"/>
    <dgm:cxn modelId="{7B8F902E-4BA3-41AA-9991-54805A6B93DE}" srcId="{55C0B14E-AEA6-48D3-A387-ED4A3A3BF840}" destId="{5EDA317F-AB2E-47DE-BA46-16FA60C3C561}" srcOrd="3" destOrd="0" parTransId="{775EBB35-E8CF-4A14-B0A8-45A53D65E711}" sibTransId="{A75B061E-69EA-487C-8330-1430DA0F139D}"/>
    <dgm:cxn modelId="{0EFA3039-6828-403C-9445-4359BA6645E6}" srcId="{55C0B14E-AEA6-48D3-A387-ED4A3A3BF840}" destId="{349299C9-846E-4827-813A-349CCCE20782}" srcOrd="0" destOrd="0" parTransId="{AEA27547-B9ED-4994-BD27-04EC297EF367}" sibTransId="{9D819F52-ACA0-4B08-8256-DF6BD8FA3A0B}"/>
    <dgm:cxn modelId="{F5A7A062-FA53-4976-B49E-235CE658F38A}" type="presOf" srcId="{EE155DB2-6788-4019-961C-F8B89C275CE8}" destId="{B73D2BBA-574C-491E-A31C-8B6EA5CC871A}" srcOrd="0" destOrd="0" presId="urn:microsoft.com/office/officeart/2016/7/layout/AccentHomeChevronProcess"/>
    <dgm:cxn modelId="{55492768-9A5E-4F74-AC7C-959C5C24EFD3}" srcId="{55C0B14E-AEA6-48D3-A387-ED4A3A3BF840}" destId="{D07AD3FD-84FF-467E-9693-752776549C61}" srcOrd="1" destOrd="0" parTransId="{7B691773-F524-4FAD-A272-BDF0B0C4370A}" sibTransId="{A8C9B7A9-BC2A-4753-B7F0-F2E361D95520}"/>
    <dgm:cxn modelId="{E97FF64F-8020-497E-AE7D-2395DDA4560D}" srcId="{D07AD3FD-84FF-467E-9693-752776549C61}" destId="{5D70EFF5-8B31-4A1F-AE44-51E4CF0013EB}" srcOrd="0" destOrd="0" parTransId="{96C720A0-FEEF-48D1-8DF6-ABA03C304822}" sibTransId="{B6A59CDE-18AD-4553-B6C5-FF001A8E8510}"/>
    <dgm:cxn modelId="{8A3D4B73-3658-4A4C-9DFE-F59E22A79482}" srcId="{5EDA317F-AB2E-47DE-BA46-16FA60C3C561}" destId="{F757DBC8-3670-4122-937A-47DB91C0F3FE}" srcOrd="0" destOrd="0" parTransId="{8F483F27-8D97-48E5-9210-1B448F1CE277}" sibTransId="{A46A41DD-2CA4-4800-8F85-546ABB24ED07}"/>
    <dgm:cxn modelId="{00A52954-B4C4-4ECD-B0D0-AE5EF5CDC4E1}" type="presOf" srcId="{7B2FF309-5120-45E2-ACC8-F8FAA9DBDA55}" destId="{B89F8758-DA9D-4018-859A-710084D7ABF3}" srcOrd="0" destOrd="0" presId="urn:microsoft.com/office/officeart/2016/7/layout/AccentHomeChevronProcess"/>
    <dgm:cxn modelId="{219EA357-E48B-4A91-91A7-8282DFF10601}" type="presOf" srcId="{55C0B14E-AEA6-48D3-A387-ED4A3A3BF840}" destId="{594BF422-752C-42F3-A230-3D0E6AE9A886}" srcOrd="0" destOrd="0" presId="urn:microsoft.com/office/officeart/2016/7/layout/AccentHomeChevronProcess"/>
    <dgm:cxn modelId="{D8B51958-63B3-49F6-A150-9B1A638B15CE}" type="presOf" srcId="{F757DBC8-3670-4122-937A-47DB91C0F3FE}" destId="{1F1B09A6-DA7E-41D1-B8A6-E3B6E775E5C1}" srcOrd="0" destOrd="0" presId="urn:microsoft.com/office/officeart/2016/7/layout/AccentHomeChevronProcess"/>
    <dgm:cxn modelId="{8DAE5786-5796-4153-8077-9421D55164A3}" type="presOf" srcId="{349299C9-846E-4827-813A-349CCCE20782}" destId="{9D8FC541-EA2A-4958-B544-74250B3F8963}" srcOrd="0" destOrd="0" presId="urn:microsoft.com/office/officeart/2016/7/layout/AccentHomeChevronProcess"/>
    <dgm:cxn modelId="{61E56288-5A92-4019-989A-398C8EA8A844}" type="presOf" srcId="{4A6BB192-9983-4F48-BBC5-6E384EED7EC5}" destId="{FD7B29F2-0D66-4B4B-BC8A-82DA23575305}" srcOrd="0" destOrd="0" presId="urn:microsoft.com/office/officeart/2016/7/layout/AccentHomeChevronProcess"/>
    <dgm:cxn modelId="{60399491-EC61-4ACD-870E-1A66600F3D26}" type="presOf" srcId="{D71FC021-6A65-44D1-95B9-0E6C89079866}" destId="{7A0B5EFC-88FB-4ED5-994F-D5F6584C2293}" srcOrd="0" destOrd="0" presId="urn:microsoft.com/office/officeart/2016/7/layout/AccentHomeChevronProcess"/>
    <dgm:cxn modelId="{53239C96-427C-420B-95DC-546F3B30ED65}" srcId="{55C0B14E-AEA6-48D3-A387-ED4A3A3BF840}" destId="{D71FC021-6A65-44D1-95B9-0E6C89079866}" srcOrd="2" destOrd="0" parTransId="{862AAE39-3AAD-40E3-BA20-90187BD73242}" sibTransId="{9B090D9D-470E-46E2-AABB-0368A52481AA}"/>
    <dgm:cxn modelId="{2F6485B4-0735-4D01-8060-5A89B7562619}" type="presOf" srcId="{5D70EFF5-8B31-4A1F-AE44-51E4CF0013EB}" destId="{5E07F9E4-149C-4A89-848F-4ABDD305F0C5}" srcOrd="0" destOrd="0" presId="urn:microsoft.com/office/officeart/2016/7/layout/AccentHomeChevronProcess"/>
    <dgm:cxn modelId="{665C05C7-3CB0-428C-B457-E59A0AF60DA1}" type="presOf" srcId="{D07AD3FD-84FF-467E-9693-752776549C61}" destId="{6C46E586-0364-4C52-98F9-74A7ACD803D1}" srcOrd="0" destOrd="0" presId="urn:microsoft.com/office/officeart/2016/7/layout/AccentHomeChevronProcess"/>
    <dgm:cxn modelId="{E3D274C7-DB39-45B8-B18F-742495FE5026}" srcId="{7B2FF309-5120-45E2-ACC8-F8FAA9DBDA55}" destId="{EE155DB2-6788-4019-961C-F8B89C275CE8}" srcOrd="0" destOrd="0" parTransId="{8395B9D5-FF39-4045-8569-9C13F11FB1E5}" sibTransId="{F94C628D-62C1-4AF5-B102-2A2AA7FD22DE}"/>
    <dgm:cxn modelId="{D35DB9DA-961B-46CD-BB14-44CD766D8CB7}" srcId="{55C0B14E-AEA6-48D3-A387-ED4A3A3BF840}" destId="{7B2FF309-5120-45E2-ACC8-F8FAA9DBDA55}" srcOrd="4" destOrd="0" parTransId="{2CF5AF8A-5687-489A-9838-EDDBB760D421}" sibTransId="{D5CAA101-B828-45D7-965B-F77CD6FBA109}"/>
    <dgm:cxn modelId="{E3115EEA-DE9C-4F06-B8B3-BEB263D5F2B1}" srcId="{D71FC021-6A65-44D1-95B9-0E6C89079866}" destId="{4A6BB192-9983-4F48-BBC5-6E384EED7EC5}" srcOrd="0" destOrd="0" parTransId="{230A6E4A-6CED-4DC0-AEFE-6859FE07B658}" sibTransId="{0B568EC2-5D2A-4B00-8047-B7832F245B44}"/>
    <dgm:cxn modelId="{35D1C9E3-6837-4096-BA78-47F6CB896E42}" type="presParOf" srcId="{594BF422-752C-42F3-A230-3D0E6AE9A886}" destId="{4F44A992-7DCD-4A16-BA46-F588521847A1}" srcOrd="0" destOrd="0" presId="urn:microsoft.com/office/officeart/2016/7/layout/AccentHomeChevronProcess"/>
    <dgm:cxn modelId="{FADB7C78-F052-45BF-B892-26038CAC9014}" type="presParOf" srcId="{4F44A992-7DCD-4A16-BA46-F588521847A1}" destId="{3F2749E8-685F-418B-BCB7-6ED2C01CAA64}" srcOrd="0" destOrd="0" presId="urn:microsoft.com/office/officeart/2016/7/layout/AccentHomeChevronProcess"/>
    <dgm:cxn modelId="{49E4DC95-2645-430C-9F98-23283D49E456}" type="presParOf" srcId="{4F44A992-7DCD-4A16-BA46-F588521847A1}" destId="{9D8FC541-EA2A-4958-B544-74250B3F8963}" srcOrd="1" destOrd="0" presId="urn:microsoft.com/office/officeart/2016/7/layout/AccentHomeChevronProcess"/>
    <dgm:cxn modelId="{D8BF743A-70A6-44BB-9BAA-3B9ECEB29393}" type="presParOf" srcId="{4F44A992-7DCD-4A16-BA46-F588521847A1}" destId="{178571DB-D3F4-4F43-88BA-189C59278494}" srcOrd="2" destOrd="0" presId="urn:microsoft.com/office/officeart/2016/7/layout/AccentHomeChevronProcess"/>
    <dgm:cxn modelId="{5FED2421-541D-4406-81AB-E3689F7D58B0}" type="presParOf" srcId="{4F44A992-7DCD-4A16-BA46-F588521847A1}" destId="{E9145B06-86A8-4BC9-968C-46095C2D1D3B}" srcOrd="3" destOrd="0" presId="urn:microsoft.com/office/officeart/2016/7/layout/AccentHomeChevronProcess"/>
    <dgm:cxn modelId="{9EE68A43-1DDC-43BF-8806-4B8E46C54BE2}" type="presParOf" srcId="{594BF422-752C-42F3-A230-3D0E6AE9A886}" destId="{F4D1BE68-26C7-4511-B3D7-880B358D7E82}" srcOrd="1" destOrd="0" presId="urn:microsoft.com/office/officeart/2016/7/layout/AccentHomeChevronProcess"/>
    <dgm:cxn modelId="{5B7985CA-BC92-461D-A77E-E2320D4992D0}" type="presParOf" srcId="{594BF422-752C-42F3-A230-3D0E6AE9A886}" destId="{EC37843F-14A6-4E20-B7AE-2B086A8F5F45}" srcOrd="2" destOrd="0" presId="urn:microsoft.com/office/officeart/2016/7/layout/AccentHomeChevronProcess"/>
    <dgm:cxn modelId="{1996E4D7-D809-45CA-9DF0-561A93BDAFB1}" type="presParOf" srcId="{EC37843F-14A6-4E20-B7AE-2B086A8F5F45}" destId="{E41E7729-FD3F-426D-804C-45BD60BD762D}" srcOrd="0" destOrd="0" presId="urn:microsoft.com/office/officeart/2016/7/layout/AccentHomeChevronProcess"/>
    <dgm:cxn modelId="{16E53752-1AB8-4CD2-BFD6-85C0CDA26E1B}" type="presParOf" srcId="{EC37843F-14A6-4E20-B7AE-2B086A8F5F45}" destId="{6C46E586-0364-4C52-98F9-74A7ACD803D1}" srcOrd="1" destOrd="0" presId="urn:microsoft.com/office/officeart/2016/7/layout/AccentHomeChevronProcess"/>
    <dgm:cxn modelId="{FAC2F23D-E510-4342-91C3-FCAB11B207C0}" type="presParOf" srcId="{EC37843F-14A6-4E20-B7AE-2B086A8F5F45}" destId="{5E07F9E4-149C-4A89-848F-4ABDD305F0C5}" srcOrd="2" destOrd="0" presId="urn:microsoft.com/office/officeart/2016/7/layout/AccentHomeChevronProcess"/>
    <dgm:cxn modelId="{3843A525-0A63-4743-B0E8-0F795D54B4E4}" type="presParOf" srcId="{EC37843F-14A6-4E20-B7AE-2B086A8F5F45}" destId="{2928FCAD-BE3F-45AC-93A5-FD98F8A50E00}" srcOrd="3" destOrd="0" presId="urn:microsoft.com/office/officeart/2016/7/layout/AccentHomeChevronProcess"/>
    <dgm:cxn modelId="{D179D84E-BE2C-46EF-8594-412D3A7F9213}" type="presParOf" srcId="{594BF422-752C-42F3-A230-3D0E6AE9A886}" destId="{C2DF8D93-19C7-4E07-BCAF-9FAAB62C8CF2}" srcOrd="3" destOrd="0" presId="urn:microsoft.com/office/officeart/2016/7/layout/AccentHomeChevronProcess"/>
    <dgm:cxn modelId="{D8554B98-FAA7-4800-BB76-916BA7A2B10E}" type="presParOf" srcId="{594BF422-752C-42F3-A230-3D0E6AE9A886}" destId="{86E313B1-36D3-44D7-907E-22A08CB8E9CC}" srcOrd="4" destOrd="0" presId="urn:microsoft.com/office/officeart/2016/7/layout/AccentHomeChevronProcess"/>
    <dgm:cxn modelId="{19D10FBF-8E65-4EB5-9B54-54A271982B0D}" type="presParOf" srcId="{86E313B1-36D3-44D7-907E-22A08CB8E9CC}" destId="{473F2067-7126-4D56-A328-5A8CFD3D8D52}" srcOrd="0" destOrd="0" presId="urn:microsoft.com/office/officeart/2016/7/layout/AccentHomeChevronProcess"/>
    <dgm:cxn modelId="{11A73768-8587-4E2B-BDDA-6254211FDF2D}" type="presParOf" srcId="{86E313B1-36D3-44D7-907E-22A08CB8E9CC}" destId="{7A0B5EFC-88FB-4ED5-994F-D5F6584C2293}" srcOrd="1" destOrd="0" presId="urn:microsoft.com/office/officeart/2016/7/layout/AccentHomeChevronProcess"/>
    <dgm:cxn modelId="{522D3FED-6E8C-40DF-8BA8-A80510ACC48F}" type="presParOf" srcId="{86E313B1-36D3-44D7-907E-22A08CB8E9CC}" destId="{FD7B29F2-0D66-4B4B-BC8A-82DA23575305}" srcOrd="2" destOrd="0" presId="urn:microsoft.com/office/officeart/2016/7/layout/AccentHomeChevronProcess"/>
    <dgm:cxn modelId="{8075A955-4651-4DD2-B114-EB147BF378DF}" type="presParOf" srcId="{86E313B1-36D3-44D7-907E-22A08CB8E9CC}" destId="{BABAA172-7B81-4C6B-BCF2-4572322515C5}" srcOrd="3" destOrd="0" presId="urn:microsoft.com/office/officeart/2016/7/layout/AccentHomeChevronProcess"/>
    <dgm:cxn modelId="{505D5263-214F-48F5-9678-AA87C7C04F54}" type="presParOf" srcId="{594BF422-752C-42F3-A230-3D0E6AE9A886}" destId="{0B65942F-B336-42B6-A72B-DA6B6B07B79B}" srcOrd="5" destOrd="0" presId="urn:microsoft.com/office/officeart/2016/7/layout/AccentHomeChevronProcess"/>
    <dgm:cxn modelId="{F0861DFD-F2E8-400C-9B5C-4AA4849B2BE4}" type="presParOf" srcId="{594BF422-752C-42F3-A230-3D0E6AE9A886}" destId="{1D5539F6-8B97-4801-8139-D49EE44FFF3E}" srcOrd="6" destOrd="0" presId="urn:microsoft.com/office/officeart/2016/7/layout/AccentHomeChevronProcess"/>
    <dgm:cxn modelId="{D22CB840-CF4F-404F-97C0-0629311A5E51}" type="presParOf" srcId="{1D5539F6-8B97-4801-8139-D49EE44FFF3E}" destId="{2377F551-4CF6-4656-B644-60A7FC1B0F64}" srcOrd="0" destOrd="0" presId="urn:microsoft.com/office/officeart/2016/7/layout/AccentHomeChevronProcess"/>
    <dgm:cxn modelId="{6FFE5C0B-250C-4EEB-9BDD-E47B6B414225}" type="presParOf" srcId="{1D5539F6-8B97-4801-8139-D49EE44FFF3E}" destId="{69ED255C-64AC-4764-BC2C-7679ECCC9FE9}" srcOrd="1" destOrd="0" presId="urn:microsoft.com/office/officeart/2016/7/layout/AccentHomeChevronProcess"/>
    <dgm:cxn modelId="{EB2B0AEE-0679-4C51-B5D9-13C0989C2DC6}" type="presParOf" srcId="{1D5539F6-8B97-4801-8139-D49EE44FFF3E}" destId="{1F1B09A6-DA7E-41D1-B8A6-E3B6E775E5C1}" srcOrd="2" destOrd="0" presId="urn:microsoft.com/office/officeart/2016/7/layout/AccentHomeChevronProcess"/>
    <dgm:cxn modelId="{21A6189F-60BA-4472-B858-99323388D0B0}" type="presParOf" srcId="{1D5539F6-8B97-4801-8139-D49EE44FFF3E}" destId="{89DACDC6-8676-47A4-A430-164754F46172}" srcOrd="3" destOrd="0" presId="urn:microsoft.com/office/officeart/2016/7/layout/AccentHomeChevronProcess"/>
    <dgm:cxn modelId="{7D7FFE7B-0A37-4D36-9728-C99051BA3C40}" type="presParOf" srcId="{594BF422-752C-42F3-A230-3D0E6AE9A886}" destId="{38A6C30B-D5BF-4A1A-A273-D265DC00F2EC}" srcOrd="7" destOrd="0" presId="urn:microsoft.com/office/officeart/2016/7/layout/AccentHomeChevronProcess"/>
    <dgm:cxn modelId="{626D4800-17BB-462C-BE7D-935B963B6EC7}" type="presParOf" srcId="{594BF422-752C-42F3-A230-3D0E6AE9A886}" destId="{761684DA-3DB5-4618-9A30-6E2731CDFCA3}" srcOrd="8" destOrd="0" presId="urn:microsoft.com/office/officeart/2016/7/layout/AccentHomeChevronProcess"/>
    <dgm:cxn modelId="{2B2ED8B7-5577-4410-8D8A-61A1D71B9F15}" type="presParOf" srcId="{761684DA-3DB5-4618-9A30-6E2731CDFCA3}" destId="{E2C584B7-5B6E-4F6E-A7B8-E679FEF7BC4D}" srcOrd="0" destOrd="0" presId="urn:microsoft.com/office/officeart/2016/7/layout/AccentHomeChevronProcess"/>
    <dgm:cxn modelId="{CFB7BBCC-4189-422A-9163-265E17C16D21}" type="presParOf" srcId="{761684DA-3DB5-4618-9A30-6E2731CDFCA3}" destId="{B89F8758-DA9D-4018-859A-710084D7ABF3}" srcOrd="1" destOrd="0" presId="urn:microsoft.com/office/officeart/2016/7/layout/AccentHomeChevronProcess"/>
    <dgm:cxn modelId="{72C8C8DD-71B0-4E2B-BE4F-7AF4AF3DD218}" type="presParOf" srcId="{761684DA-3DB5-4618-9A30-6E2731CDFCA3}" destId="{B73D2BBA-574C-491E-A31C-8B6EA5CC871A}" srcOrd="2" destOrd="0" presId="urn:microsoft.com/office/officeart/2016/7/layout/AccentHomeChevronProcess"/>
    <dgm:cxn modelId="{34912DD7-C0FC-4C18-ABAB-DA8DF69C4254}" type="presParOf" srcId="{761684DA-3DB5-4618-9A30-6E2731CDFCA3}" destId="{DC9D8E0A-674F-4E74-BF10-5C0EF64E638E}" srcOrd="3" destOrd="0" presId="urn:microsoft.com/office/officeart/2016/7/layout/AccentHomeChevro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2749E8-685F-418B-BCB7-6ED2C01CAA64}">
      <dsp:nvSpPr>
        <dsp:cNvPr id="0" name=""/>
        <dsp:cNvSpPr/>
      </dsp:nvSpPr>
      <dsp:spPr>
        <a:xfrm rot="5400000">
          <a:off x="-1073492" y="2108932"/>
          <a:ext cx="2325147" cy="174080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8FC541-EA2A-4958-B544-74250B3F8963}">
      <dsp:nvSpPr>
        <dsp:cNvPr id="0" name=""/>
        <dsp:cNvSpPr/>
      </dsp:nvSpPr>
      <dsp:spPr>
        <a:xfrm>
          <a:off x="2040" y="3358546"/>
          <a:ext cx="2176009" cy="775049"/>
        </a:xfrm>
        <a:prstGeom prst="homePlate">
          <a:avLst>
            <a:gd name="adj" fmla="val 2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203200" rIns="101600" bIns="203200" numCol="1" spcCol="1270" rtlCol="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noProof="0" dirty="0"/>
            <a:t>DICEMBRE 2022</a:t>
          </a:r>
        </a:p>
      </dsp:txBody>
      <dsp:txXfrm>
        <a:off x="2040" y="3358546"/>
        <a:ext cx="2079128" cy="775049"/>
      </dsp:txXfrm>
    </dsp:sp>
    <dsp:sp modelId="{178571DB-D3F4-4F43-88BA-189C59278494}">
      <dsp:nvSpPr>
        <dsp:cNvPr id="0" name=""/>
        <dsp:cNvSpPr/>
      </dsp:nvSpPr>
      <dsp:spPr>
        <a:xfrm>
          <a:off x="176121" y="1137847"/>
          <a:ext cx="1766919" cy="2116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1E7729-FD3F-426D-804C-45BD60BD762D}">
      <dsp:nvSpPr>
        <dsp:cNvPr id="0" name=""/>
        <dsp:cNvSpPr/>
      </dsp:nvSpPr>
      <dsp:spPr>
        <a:xfrm rot="5400000">
          <a:off x="993715" y="2108932"/>
          <a:ext cx="2325147" cy="174080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6E586-0364-4C52-98F9-74A7ACD803D1}">
      <dsp:nvSpPr>
        <dsp:cNvPr id="0" name=""/>
        <dsp:cNvSpPr/>
      </dsp:nvSpPr>
      <dsp:spPr>
        <a:xfrm>
          <a:off x="2069249" y="3358546"/>
          <a:ext cx="2176009" cy="775049"/>
        </a:xfrm>
        <a:prstGeom prst="chevron">
          <a:avLst>
            <a:gd name="adj" fmla="val 25000"/>
          </a:avLst>
        </a:prstGeom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203200" rIns="101600" bIns="203200" numCol="1" spcCol="1270" rtlCol="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noProof="0" dirty="0"/>
            <a:t>GENNAIO 2023</a:t>
          </a:r>
        </a:p>
      </dsp:txBody>
      <dsp:txXfrm>
        <a:off x="2263011" y="3358546"/>
        <a:ext cx="1788485" cy="775049"/>
      </dsp:txXfrm>
    </dsp:sp>
    <dsp:sp modelId="{5E07F9E4-149C-4A89-848F-4ABDD305F0C5}">
      <dsp:nvSpPr>
        <dsp:cNvPr id="0" name=""/>
        <dsp:cNvSpPr/>
      </dsp:nvSpPr>
      <dsp:spPr>
        <a:xfrm>
          <a:off x="2243330" y="1137847"/>
          <a:ext cx="1766919" cy="1719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600" kern="1200" noProof="0" dirty="0"/>
        </a:p>
      </dsp:txBody>
      <dsp:txXfrm>
        <a:off x="2243330" y="1137847"/>
        <a:ext cx="1766919" cy="1719150"/>
      </dsp:txXfrm>
    </dsp:sp>
    <dsp:sp modelId="{473F2067-7126-4D56-A328-5A8CFD3D8D52}">
      <dsp:nvSpPr>
        <dsp:cNvPr id="0" name=""/>
        <dsp:cNvSpPr/>
      </dsp:nvSpPr>
      <dsp:spPr>
        <a:xfrm rot="5400000">
          <a:off x="3060924" y="2108932"/>
          <a:ext cx="2325147" cy="174080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0B5EFC-88FB-4ED5-994F-D5F6584C2293}">
      <dsp:nvSpPr>
        <dsp:cNvPr id="0" name=""/>
        <dsp:cNvSpPr/>
      </dsp:nvSpPr>
      <dsp:spPr>
        <a:xfrm>
          <a:off x="4136457" y="3358546"/>
          <a:ext cx="2176009" cy="775049"/>
        </a:xfrm>
        <a:prstGeom prst="chevron">
          <a:avLst>
            <a:gd name="adj" fmla="val 25000"/>
          </a:avLst>
        </a:prstGeom>
        <a:solidFill>
          <a:schemeClr val="accent5"/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203200" rIns="101600" bIns="203200" numCol="1" spcCol="1270" rtlCol="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noProof="0" dirty="0"/>
            <a:t>FEBBRAIO 2023</a:t>
          </a:r>
        </a:p>
      </dsp:txBody>
      <dsp:txXfrm>
        <a:off x="4330219" y="3358546"/>
        <a:ext cx="1788485" cy="775049"/>
      </dsp:txXfrm>
    </dsp:sp>
    <dsp:sp modelId="{FD7B29F2-0D66-4B4B-BC8A-82DA23575305}">
      <dsp:nvSpPr>
        <dsp:cNvPr id="0" name=""/>
        <dsp:cNvSpPr/>
      </dsp:nvSpPr>
      <dsp:spPr>
        <a:xfrm>
          <a:off x="4310538" y="1137847"/>
          <a:ext cx="1766919" cy="1719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600" kern="1200" noProof="0" dirty="0"/>
        </a:p>
      </dsp:txBody>
      <dsp:txXfrm>
        <a:off x="4310538" y="1137847"/>
        <a:ext cx="1766919" cy="1719150"/>
      </dsp:txXfrm>
    </dsp:sp>
    <dsp:sp modelId="{2377F551-4CF6-4656-B644-60A7FC1B0F64}">
      <dsp:nvSpPr>
        <dsp:cNvPr id="0" name=""/>
        <dsp:cNvSpPr/>
      </dsp:nvSpPr>
      <dsp:spPr>
        <a:xfrm rot="5400000">
          <a:off x="5128133" y="2108932"/>
          <a:ext cx="2325147" cy="174080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ED255C-64AC-4764-BC2C-7679ECCC9FE9}">
      <dsp:nvSpPr>
        <dsp:cNvPr id="0" name=""/>
        <dsp:cNvSpPr/>
      </dsp:nvSpPr>
      <dsp:spPr>
        <a:xfrm>
          <a:off x="6203666" y="3358546"/>
          <a:ext cx="2176009" cy="775049"/>
        </a:xfrm>
        <a:prstGeom prst="chevron">
          <a:avLst>
            <a:gd name="adj" fmla="val 25000"/>
          </a:avLst>
        </a:prstGeom>
        <a:solidFill>
          <a:schemeClr val="accent3"/>
        </a:solid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203200" rIns="101600" bIns="203200" numCol="1" spcCol="1270" rtlCol="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noProof="0" dirty="0"/>
            <a:t>MARZO 2023</a:t>
          </a:r>
        </a:p>
      </dsp:txBody>
      <dsp:txXfrm>
        <a:off x="6397428" y="3358546"/>
        <a:ext cx="1788485" cy="775049"/>
      </dsp:txXfrm>
    </dsp:sp>
    <dsp:sp modelId="{1F1B09A6-DA7E-41D1-B8A6-E3B6E775E5C1}">
      <dsp:nvSpPr>
        <dsp:cNvPr id="0" name=""/>
        <dsp:cNvSpPr/>
      </dsp:nvSpPr>
      <dsp:spPr>
        <a:xfrm>
          <a:off x="6377747" y="1137847"/>
          <a:ext cx="1766919" cy="1719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600" kern="1200" noProof="0" dirty="0"/>
        </a:p>
      </dsp:txBody>
      <dsp:txXfrm>
        <a:off x="6377747" y="1137847"/>
        <a:ext cx="1766919" cy="1719150"/>
      </dsp:txXfrm>
    </dsp:sp>
    <dsp:sp modelId="{E2C584B7-5B6E-4F6E-A7B8-E679FEF7BC4D}">
      <dsp:nvSpPr>
        <dsp:cNvPr id="0" name=""/>
        <dsp:cNvSpPr/>
      </dsp:nvSpPr>
      <dsp:spPr>
        <a:xfrm rot="5400000">
          <a:off x="7197382" y="2108932"/>
          <a:ext cx="2325147" cy="174080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9F8758-DA9D-4018-859A-710084D7ABF3}">
      <dsp:nvSpPr>
        <dsp:cNvPr id="0" name=""/>
        <dsp:cNvSpPr/>
      </dsp:nvSpPr>
      <dsp:spPr>
        <a:xfrm>
          <a:off x="8272915" y="3358546"/>
          <a:ext cx="2176009" cy="775049"/>
        </a:xfrm>
        <a:prstGeom prst="chevron">
          <a:avLst>
            <a:gd name="adj" fmla="val 25000"/>
          </a:avLst>
        </a:prstGeom>
        <a:solidFill>
          <a:schemeClr val="accent4"/>
        </a:solidFill>
        <a:ln w="1270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203200" rIns="101600" bIns="203200" numCol="1" spcCol="1270" rtlCol="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noProof="0" dirty="0"/>
            <a:t>APRILE</a:t>
          </a:r>
          <a:r>
            <a:rPr lang="it-IT" sz="1600" kern="1200" baseline="0" noProof="0" dirty="0"/>
            <a:t> 2023</a:t>
          </a:r>
          <a:endParaRPr lang="it-IT" sz="1600" kern="1200" noProof="0" dirty="0"/>
        </a:p>
      </dsp:txBody>
      <dsp:txXfrm>
        <a:off x="8466677" y="3358546"/>
        <a:ext cx="1788485" cy="775049"/>
      </dsp:txXfrm>
    </dsp:sp>
    <dsp:sp modelId="{B73D2BBA-574C-491E-A31C-8B6EA5CC871A}">
      <dsp:nvSpPr>
        <dsp:cNvPr id="0" name=""/>
        <dsp:cNvSpPr/>
      </dsp:nvSpPr>
      <dsp:spPr>
        <a:xfrm>
          <a:off x="8446996" y="1137847"/>
          <a:ext cx="1766919" cy="1719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600" kern="1200" noProof="0" dirty="0"/>
        </a:p>
      </dsp:txBody>
      <dsp:txXfrm>
        <a:off x="8446996" y="1137847"/>
        <a:ext cx="1766919" cy="17191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AccentHomeChevronProcess">
  <dgm:title val="Processo con frecce colorate e intestazioni"/>
  <dgm:desc val="Utilizzabile per mostrare una progressione, una sequenza temporale, i passaggi sequenziali in un'attività, processo o flusso di lavoro, oppure per evidenziare un movimento o direzione. Il testo di Livello 1 appare all'interno di una forma freccia, tranne che per la prima forma, che appare in una forma che rappresenta una casa, mentre il testo di Livello 2 è visualizzato al di sopra delle forme a rettangolo invisibili."/>
  <dgm:catLst>
    <dgm:cat type="process" pri="500"/>
    <dgm:cat type="timeline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contrsBasedOnsibTransCount">
      <dgm:if name="oneSibTrans" axis="ch" ptType="sibTrans" func="cnt" op="equ" val="1">
        <dgm:constrLst>
          <dgm:constr type="h" for="ch" forName="composite" refType="h" fact="0.6"/>
          <dgm:constr type="w" for="ch" forName="composite" refType="w"/>
          <dgm:constr type="primFontSz" for="des" forName="parTx" val="20"/>
          <dgm:constr type="primFontSz" for="des" forName="desTx" refType="primFontSz" refFor="des" refForName="parTx" op="lte"/>
          <dgm:constr type="primFontSz" for="des" forName="parTx" op="equ"/>
          <dgm:constr type="primFontSz" for="des" forName="desTx" op="equ"/>
          <dgm:constr type="w" for="ch" forName="space" refType="w" refFor="ch" refForName="composite" fact="-0.02"/>
          <dgm:constr type="w" for="ch" ptType="sibTrans" op="equ"/>
        </dgm:constrLst>
      </dgm:if>
      <dgm:else name="moreThanOneSibTrans">
        <dgm:choose name="contrsForMoreThanOneSibTrans">
          <dgm:if name="twoSibTrans" axis="ch" ptType="sibTrans" func="cnt" op="equ" val="2">
            <dgm:constrLst>
              <dgm:constr type="h" for="ch" forName="composite" refType="h" fact="0.6"/>
              <dgm:constr type="w" for="ch" forName="composite" refType="w"/>
              <dgm:constr type="primFontSz" for="des" forName="parTx" val="20"/>
              <dgm:constr type="primFontSz" for="des" forName="desTx" refType="primFontSz" refFor="des" refForName="parTx" op="lte"/>
              <dgm:constr type="primFontSz" for="des" forName="parTx" op="equ"/>
              <dgm:constr type="primFontSz" for="des" forName="desTx" op="equ"/>
              <dgm:constr type="w" for="ch" forName="space" refType="w" refFor="ch" refForName="composite" fact="-0.03"/>
              <dgm:constr type="w" for="ch" ptType="sibTrans" op="equ"/>
            </dgm:constrLst>
          </dgm:if>
          <dgm:else name="moreThanTwoSibTrans">
            <dgm:choose name="contrsForMoreThanTwoSibTrans">
              <dgm:if name="threeSibTrans" axis="ch" ptType="sibTrans" func="cnt" op="equ" val="3">
                <dgm:constrLst>
                  <dgm:constr type="h" for="ch" forName="composite" refType="h" fact="0.6"/>
                  <dgm:constr type="w" for="ch" forName="composite" refType="w"/>
                  <dgm:constr type="primFontSz" for="des" forName="parTx" val="20"/>
                  <dgm:constr type="primFontSz" for="des" forName="desTx" refType="primFontSz" refFor="des" refForName="parTx" op="lte"/>
                  <dgm:constr type="primFontSz" for="des" forName="parTx" op="equ"/>
                  <dgm:constr type="primFontSz" for="des" forName="desTx" op="equ"/>
                  <dgm:constr type="w" for="ch" forName="space" refType="w" refFor="ch" refForName="composite" fact="-0.04"/>
                  <dgm:constr type="w" for="ch" ptType="sibTrans" op="equ"/>
                </dgm:constrLst>
              </dgm:if>
              <dgm:else name="moreThanThreeSibTrans">
                <dgm:choose name="contrsForMoreThanThreeSibTrans">
                  <dgm:if name="fourToSixSibTrans" axis="ch" ptType="sibTrans" func="cnt" op="lte" val="6">
                    <dgm:constrLst>
                      <dgm:constr type="h" for="ch" forName="composite" refType="h" fact="0.6"/>
                      <dgm:constr type="w" for="ch" forName="composite" refType="w"/>
                      <dgm:constr type="primFontSz" for="des" forName="parTx" val="20"/>
                      <dgm:constr type="primFontSz" for="des" forName="desTx" refType="primFontSz" refFor="des" refForName="parTx" op="lte"/>
                      <dgm:constr type="primFontSz" for="des" forName="parTx" op="equ"/>
                      <dgm:constr type="primFontSz" for="des" forName="desTx" op="equ"/>
                      <dgm:constr type="w" for="ch" forName="space" refType="w" refFor="ch" refForName="composite" fact="-0.05"/>
                      <dgm:constr type="w" for="ch" ptType="sibTrans" op="equ"/>
                    </dgm:constrLst>
                  </dgm:if>
                  <dgm:else name="moreThanSixSibTrans">
                    <dgm:choose name="contrsForMoreThanSixSibTrans">
                      <dgm:if name="sevenToEightSibTrans" axis="ch" ptType="sibTrans" func="cnt" op="lte" val="8">
                        <dgm:constrLst>
                          <dgm:constr type="h" for="ch" forName="composite" refType="h" fact="0.6"/>
                          <dgm:constr type="w" for="ch" forName="composite" refType="w"/>
                          <dgm:constr type="primFontSz" for="des" forName="parTx" val="20"/>
                          <dgm:constr type="primFontSz" for="des" forName="desTx" refType="primFontSz" refFor="des" refForName="parTx" op="lte"/>
                          <dgm:constr type="primFontSz" for="des" forName="parTx" op="equ"/>
                          <dgm:constr type="primFontSz" for="des" forName="desTx" op="equ"/>
                          <dgm:constr type="w" for="ch" forName="space" refType="w" refFor="ch" refForName="composite" fact="-0.07"/>
                          <dgm:constr type="w" for="ch" ptType="sibTrans" op="equ"/>
                        </dgm:constrLst>
                      </dgm:if>
                      <dgm:else name="moreThanEightSibTrans">
                        <dgm:constrLst>
                          <dgm:constr type="h" for="ch" forName="composite" refType="h" fact="0.6"/>
                          <dgm:constr type="w" for="ch" forName="composite" refType="w"/>
                          <dgm:constr type="primFontSz" for="des" forName="parTx" val="20"/>
                          <dgm:constr type="primFontSz" for="des" forName="desTx" refType="primFontSz" refFor="des" refForName="parTx" op="lte"/>
                          <dgm:constr type="primFontSz" for="des" forName="parTx" op="equ"/>
                          <dgm:constr type="primFontSz" for="des" forName="desTx" op="equ"/>
                          <dgm:constr type="w" for="ch" forName="space" refType="w" refFor="ch" refForName="composite" fact="-0.09"/>
                          <dgm:constr type="w" for="ch" ptType="sibTrans" op="equ"/>
                        </dgm:constrLst>
                      </dgm:else>
                    </dgm:choose>
                  </dgm:else>
                </dgm:choose>
              </dgm:else>
            </dgm:choose>
          </dgm:else>
        </dgm:choose>
      </dgm:else>
    </dgm:choose>
    <dgm:ruleLst/>
    <dgm:forEach name="Name6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LayoutLTRorRTL">
          <dgm:if name="LayoutLTR" func="var" arg="dir" op="equ" val="norm">
            <dgm:constrLst>
              <dgm:constr type="w" for="ch" forName="L" refType="w" fact="0.08"/>
              <dgm:constr type="h" for="ch" forName="L" refType="h" fact="0.75"/>
              <dgm:constr type="l" for="ch" forName="L"/>
              <dgm:constr type="l" for="ch" forName="parTx"/>
              <dgm:constr type="w" for="ch" forName="parTx" refType="w"/>
              <dgm:constr type="h" for="ch" forName="parTx" refType="h" fact="0.25"/>
              <dgm:constr type="t" for="ch" forName="parTx" refType="b" refFor="ch" refForName="L"/>
              <dgm:constr type="t" for="ch" forName="desTx" refType="w" refFor="ch" refForName="L" fact="0.6"/>
              <dgm:constr type="b" for="ch" forName="desTx" refType="t" refFor="ch" refForName="EmptyPlaceHolder"/>
              <dgm:constr type="l" for="ch" forName="desTx" refType="r" refFor="ch" refForName="L"/>
              <dgm:constr type="w" for="ch" forName="desTx" refType="w" fact="0.812"/>
              <dgm:constr type="w" for="ch" forName="EmptyPlaceHolder" refType="w" fact="0.82"/>
              <dgm:constr type="l" for="ch" forName="EmptyPlaceHolder" refType="r" refFor="ch" refForName="L"/>
              <dgm:constr type="b" for="ch" forName="EmptyPlaceHolder" refType="b" refFor="ch" refForName="L"/>
              <dgm:constr type="h" for="ch" forName="EmptyPlaceHolder" refType="t" refFor="ch" refForName="desTx"/>
            </dgm:constrLst>
          </dgm:if>
          <dgm:else name="LayoutRTL">
            <dgm:constrLst>
              <dgm:constr type="w" for="ch" forName="L" refType="w" fact="0.08"/>
              <dgm:constr type="h" for="ch" forName="L" refType="h" fact="0.75"/>
              <dgm:constr type="r" for="ch" forName="L" refType="w"/>
              <dgm:constr type="r" for="ch" forName="parTx" refType="w"/>
              <dgm:constr type="w" for="ch" forName="parTx" refType="w"/>
              <dgm:constr type="h" for="ch" forName="parTx" refType="h" fact="0.25"/>
              <dgm:constr type="t" for="ch" forName="parTx" refType="b" refFor="ch" refForName="L"/>
              <dgm:constr type="t" for="ch" forName="desTx" refType="w" refFor="ch" refForName="L" fact="0.6"/>
              <dgm:constr type="b" for="ch" forName="desTx" refType="t" refFor="ch" refForName="EmptyPlaceHolder"/>
              <dgm:constr type="r" for="ch" forName="desTx" refType="l" refFor="ch" refForName="L"/>
              <dgm:constr type="w" for="ch" forName="desTx" refType="w" fact="0.812"/>
              <dgm:constr type="w" for="ch" forName="EmptyPlaceHolder" refType="w" fact="0.82"/>
              <dgm:constr type="h" for="ch" forName="EmptyPlaceHolder" refType="w" refFor="ch" refForName="L" fact="0.6"/>
              <dgm:constr type="b" for="ch" forName="EmptyPlaceHolder" refType="b" refFor="ch" refForName="L"/>
            </dgm:constrLst>
          </dgm:else>
        </dgm:choose>
        <dgm:layoutNode name="L" styleLbl="solidFgAcc1" moveWith="parTx">
          <dgm:varLst>
            <dgm:chMax val="0"/>
            <dgm:chPref val="0"/>
          </dgm:varLst>
          <dgm:alg type="sp"/>
          <dgm:choose name="Name310">
            <dgm:if name="Name311" func="var" arg="dir" op="equ" val="norm">
              <dgm:shape xmlns:r="http://schemas.openxmlformats.org/officeDocument/2006/relationships" rot="90" type="corner" r:blip="">
                <dgm:adjLst>
                  <dgm:adj idx="1" val="0.01"/>
                  <dgm:adj idx="2" val="0.01"/>
                </dgm:adjLst>
              </dgm:shape>
            </dgm:if>
            <dgm:else name="Name312">
              <dgm:shape xmlns:r="http://schemas.openxmlformats.org/officeDocument/2006/relationships" rot="180" type="corner" r:blip="">
                <dgm:adjLst>
                  <dgm:adj idx="1" val="0.01"/>
                  <dgm:adj idx="2" val="0.01"/>
                </dgm:adjLst>
              </dgm:shape>
            </dgm:else>
          </dgm:choose>
          <dgm:presOf/>
          <dgm:constrLst/>
          <dgm:ruleLst/>
        </dgm:layoutNode>
        <dgm:layoutNode name="parTx" styleLbl="alignNode1">
          <dgm:varLst>
            <dgm:chMax val="0"/>
            <dgm:chPref val="0"/>
            <dgm:bulletEnabled val="1"/>
          </dgm:varLst>
          <dgm:alg type="tx">
            <dgm:param type="txAnchorVert" val="mid"/>
            <dgm:param type="parTxLTRAlign" val="ctr"/>
            <dgm:param type="parTxRTLAlign" val="ctr"/>
          </dgm:alg>
          <dgm:choose name="MakeFirstNodeHomePlate">
            <dgm:if name="IfFirstNode" axis="self" ptType="node" func="pos" op="equ" val="1">
              <dgm:choose name="Name110">
                <dgm:if name="Name111" func="var" arg="dir" op="equ" val="norm">
                  <dgm:shape xmlns:r="http://schemas.openxmlformats.org/officeDocument/2006/relationships" type="homePlate" r:blip="">
                    <dgm:adjLst>
                      <dgm:adj idx="1" val="0.25"/>
                    </dgm:adjLst>
                  </dgm:shape>
                </dgm:if>
                <dgm:else name="Name112">
                  <dgm:shape xmlns:r="http://schemas.openxmlformats.org/officeDocument/2006/relationships" rot="180" type="homePlate" r:blip="">
                    <dgm:adjLst>
                      <dgm:adj idx="1" val="0.25"/>
                    </dgm:adjLst>
                  </dgm:shape>
                </dgm:else>
              </dgm:choose>
            </dgm:if>
            <dgm:else name="MakeRestOfNodesChevrons"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>
                      <dgm:adj idx="1" val="0.25"/>
                    </dgm:adjLst>
                  </dgm:shape>
                </dgm:if>
                <dgm:else name="Name12">
                  <dgm:shape xmlns:r="http://schemas.openxmlformats.org/officeDocument/2006/relationships" rot="180" type="chevron" r:blip="">
                    <dgm:adjLst>
                      <dgm:adj idx="1" val="0.25"/>
                    </dgm:adjLst>
                  </dgm:shape>
                </dgm:else>
              </dgm:choose>
            </dgm:else>
          </dgm:choose>
          <dgm:presOf axis="self" ptType="node"/>
          <dgm:constrLst>
            <dgm:constr type="tMarg" refType="primFontSz"/>
            <dgm:constr type="bMarg" refType="primFontSz"/>
            <dgm:constr type="lMarg" refType="primFontSz" fact="0.5"/>
            <dgm:constr type="rMarg" refType="primFontSz" fact="0.5"/>
          </dgm:constrLst>
          <dgm:ruleLst>
            <dgm:rule type="primFontSz" val="13" fact="NaN" max="NaN"/>
          </dgm:ruleLst>
        </dgm:layoutNode>
        <dgm:layoutNode name="desTx" styleLbl="revTx" moveWith="parTx">
          <dgm:varLst>
            <dgm:chMax val="0"/>
            <dgm:chPref val="0"/>
            <dgm:bulletEnabled val="1"/>
          </dgm:varLst>
          <dgm:choose name="Name210">
            <dgm:if name="Name211" func="var" arg="dir" op="equ" val="norm">
              <dgm:alg type="tx">
                <dgm:param type="txAnchorVert" val="t"/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12">
              <dgm:alg type="tx">
                <dgm:param type="txAnchorVert" val="t"/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tMarg"/>
            <dgm:constr type="bMarg"/>
            <dgm:constr type="lMarg"/>
            <dgm:constr type="rMarg"/>
          </dgm:constrLst>
          <dgm:ruleLst>
            <dgm:rule type="primFontSz" val="11" fact="NaN" max="NaN"/>
            <dgm:rule type="secFontSz" val="9" fact="NaN" max="NaN"/>
          </dgm:ruleLst>
        </dgm:layoutNode>
        <dgm:layoutNode name="EmptyPlaceHolder">
          <dgm:alg type="sp"/>
          <dgm:shape xmlns:r="http://schemas.openxmlformats.org/officeDocument/2006/relationships" r:blip="">
            <dgm:adjLst/>
          </dgm:shape>
          <dgm:presOf/>
          <dgm:constrLst/>
        </dgm:layoutNode>
      </dgm:layoutNode>
      <dgm:forEach name="Name19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CDE217D1-FCD1-4007-9E5F-165E20012DE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88AB1B1-0B22-4611-8FEA-13D80128697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EDD7B2-2DB1-4292-9CED-B6D9BDCC5040}" type="datetime1">
              <a:rPr lang="it-IT" smtClean="0"/>
              <a:t>15/04/2023</a:t>
            </a:fld>
            <a:endParaRPr 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36A354F2-2D6C-47B9-96FB-4B76E1E4C7C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525C8CA-3B88-4039-8D2A-86C4329D5A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D447C0-1402-408B-9B31-FEBD74125ED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30752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it-IT" noProof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6F714F-066B-41A5-A6BD-50516EB8C346}" type="datetime1">
              <a:rPr lang="it-IT" smtClean="0"/>
              <a:pPr/>
              <a:t>15/04/2023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it-IT" noProof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D5939589-3E79-4C82-AA4A-FE78234FAA59}" type="slidenum">
              <a:rPr lang="it-IT" noProof="0" smtClean="0"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1949689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5939589-3E79-4C82-AA4A-FE78234FAA59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9458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5939589-3E79-4C82-AA4A-FE78234FAA59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00567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5939589-3E79-4C82-AA4A-FE78234FAA59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0225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D5939589-3E79-4C82-AA4A-FE78234FAA59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0096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6640AAD-80AF-40E7-BE3F-43D32FC68E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rtlCol="0" anchor="b"/>
          <a:lstStyle>
            <a:lvl1pPr algn="l">
              <a:defRPr sz="6000" b="1" i="0" cap="all" baseline="0"/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C80FBD9-0977-4B2B-9318-30774BB094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rtlCol="0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it-IT" noProof="0"/>
              <a:t>Fare clic per modificare lo stile del sottotitolo dello schema</a:t>
            </a:r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D1B787A8-0D67-4B7E-9B48-86BD906AB6B5}"/>
              </a:ext>
            </a:extLst>
          </p:cNvPr>
          <p:cNvCxnSpPr>
            <a:cxnSpLocks/>
          </p:cNvCxnSpPr>
          <p:nvPr/>
        </p:nvCxnSpPr>
        <p:spPr>
          <a:xfrm>
            <a:off x="715890" y="1114050"/>
            <a:ext cx="0" cy="5735637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7802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5F057AE-3B3B-4261-B912-BF9EB9A58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rtlCol="0"/>
          <a:lstStyle/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2A2D237-A706-4712-90CA-B04517CBBE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44752" y="1681163"/>
            <a:ext cx="4553712" cy="82391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it-IT" noProof="0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DE39CA1-2B6D-427E-9688-9093D5865C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444752" y="2505075"/>
            <a:ext cx="4553712" cy="3684588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F3D53357-616B-47F4-944B-F979FE9663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84848" y="1681163"/>
            <a:ext cx="4553712" cy="82391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it-IT" noProof="0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D7EA593-3036-4FB5-94B4-D9431DF048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784848" y="2505075"/>
            <a:ext cx="4553712" cy="3684588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160F34ED-DA60-4CC2-B735-B0EC5D9FEA35}"/>
              </a:ext>
            </a:extLst>
          </p:cNvPr>
          <p:cNvCxnSpPr>
            <a:cxnSpLocks/>
          </p:cNvCxnSpPr>
          <p:nvPr/>
        </p:nvCxnSpPr>
        <p:spPr>
          <a:xfrm>
            <a:off x="715890" y="356812"/>
            <a:ext cx="0" cy="6492875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emento grafico 15">
            <a:extLst>
              <a:ext uri="{FF2B5EF4-FFF2-40B4-BE49-F238E27FC236}">
                <a16:creationId xmlns:a16="http://schemas.microsoft.com/office/drawing/2014/main" id="{A9475260-301F-4744-B1DA-7B00F6FB4342}"/>
              </a:ext>
            </a:extLst>
          </p:cNvPr>
          <p:cNvSpPr/>
          <p:nvPr userDrawn="1"/>
        </p:nvSpPr>
        <p:spPr>
          <a:xfrm>
            <a:off x="10508317" y="492206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accent2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4" name="Elemento grafico 16">
            <a:extLst>
              <a:ext uri="{FF2B5EF4-FFF2-40B4-BE49-F238E27FC236}">
                <a16:creationId xmlns:a16="http://schemas.microsoft.com/office/drawing/2014/main" id="{9BBD3F4B-0836-48C5-AC68-747456D1DD50}"/>
              </a:ext>
            </a:extLst>
          </p:cNvPr>
          <p:cNvSpPr/>
          <p:nvPr userDrawn="1"/>
        </p:nvSpPr>
        <p:spPr>
          <a:xfrm>
            <a:off x="11477944" y="1055581"/>
            <a:ext cx="127714" cy="127714"/>
          </a:xfrm>
          <a:custGeom>
            <a:avLst/>
            <a:gdLst>
              <a:gd name="connsiteX0" fmla="*/ 63857 w 127714"/>
              <a:gd name="connsiteY0" fmla="*/ 18874 h 127714"/>
              <a:gd name="connsiteX1" fmla="*/ 108840 w 127714"/>
              <a:gd name="connsiteY1" fmla="*/ 63857 h 127714"/>
              <a:gd name="connsiteX2" fmla="*/ 63857 w 127714"/>
              <a:gd name="connsiteY2" fmla="*/ 108840 h 127714"/>
              <a:gd name="connsiteX3" fmla="*/ 18874 w 127714"/>
              <a:gd name="connsiteY3" fmla="*/ 63857 h 127714"/>
              <a:gd name="connsiteX4" fmla="*/ 63857 w 127714"/>
              <a:gd name="connsiteY4" fmla="*/ 18874 h 127714"/>
              <a:gd name="connsiteX5" fmla="*/ 63857 w 127714"/>
              <a:gd name="connsiteY5" fmla="*/ 0 h 127714"/>
              <a:gd name="connsiteX6" fmla="*/ 0 w 127714"/>
              <a:gd name="connsiteY6" fmla="*/ 63857 h 127714"/>
              <a:gd name="connsiteX7" fmla="*/ 63857 w 127714"/>
              <a:gd name="connsiteY7" fmla="*/ 127714 h 127714"/>
              <a:gd name="connsiteX8" fmla="*/ 127714 w 127714"/>
              <a:gd name="connsiteY8" fmla="*/ 63857 h 127714"/>
              <a:gd name="connsiteX9" fmla="*/ 63857 w 127714"/>
              <a:gd name="connsiteY9" fmla="*/ 0 h 12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4" h="127714">
                <a:moveTo>
                  <a:pt x="63857" y="18874"/>
                </a:moveTo>
                <a:cubicBezTo>
                  <a:pt x="88700" y="18874"/>
                  <a:pt x="108840" y="39014"/>
                  <a:pt x="108840" y="63857"/>
                </a:cubicBezTo>
                <a:cubicBezTo>
                  <a:pt x="108840" y="88700"/>
                  <a:pt x="88700" y="108840"/>
                  <a:pt x="63857" y="108840"/>
                </a:cubicBezTo>
                <a:cubicBezTo>
                  <a:pt x="39014" y="108840"/>
                  <a:pt x="18874" y="88700"/>
                  <a:pt x="18874" y="63857"/>
                </a:cubicBezTo>
                <a:cubicBezTo>
                  <a:pt x="18898" y="39024"/>
                  <a:pt x="39024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4"/>
                  <a:pt x="63857" y="127714"/>
                </a:cubicBezTo>
                <a:cubicBezTo>
                  <a:pt x="99124" y="127714"/>
                  <a:pt x="127714" y="99124"/>
                  <a:pt x="127714" y="63857"/>
                </a:cubicBezTo>
                <a:cubicBezTo>
                  <a:pt x="127714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2"/>
          </a:solidFill>
          <a:ln w="61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6" name="Elemento grafico 14">
            <a:extLst>
              <a:ext uri="{FF2B5EF4-FFF2-40B4-BE49-F238E27FC236}">
                <a16:creationId xmlns:a16="http://schemas.microsoft.com/office/drawing/2014/main" id="{9B4398D5-99F4-4F83-AA77-9B4177648CAF}"/>
              </a:ext>
            </a:extLst>
          </p:cNvPr>
          <p:cNvSpPr/>
          <p:nvPr userDrawn="1"/>
        </p:nvSpPr>
        <p:spPr>
          <a:xfrm>
            <a:off x="11241555" y="446637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2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9375955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5F057AE-3B3B-4261-B912-BF9EB9A58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rtlCol="0"/>
          <a:lstStyle/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2A2D237-A706-4712-90CA-B04517CBBE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44752" y="1681163"/>
            <a:ext cx="2834640" cy="82391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it-IT" noProof="0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DE39CA1-2B6D-427E-9688-9093D5865C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444752" y="2505075"/>
            <a:ext cx="2834640" cy="3684588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F3D53357-616B-47F4-944B-F979FE9663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983480" y="1681163"/>
            <a:ext cx="2834640" cy="82391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it-IT" noProof="0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D7EA593-3036-4FB5-94B4-D9431DF048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983480" y="2505075"/>
            <a:ext cx="2834640" cy="3684588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160F34ED-DA60-4CC2-B735-B0EC5D9FEA35}"/>
              </a:ext>
            </a:extLst>
          </p:cNvPr>
          <p:cNvCxnSpPr>
            <a:cxnSpLocks/>
          </p:cNvCxnSpPr>
          <p:nvPr/>
        </p:nvCxnSpPr>
        <p:spPr>
          <a:xfrm>
            <a:off x="715890" y="356812"/>
            <a:ext cx="0" cy="6492875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emento grafico 15">
            <a:extLst>
              <a:ext uri="{FF2B5EF4-FFF2-40B4-BE49-F238E27FC236}">
                <a16:creationId xmlns:a16="http://schemas.microsoft.com/office/drawing/2014/main" id="{A9475260-301F-4744-B1DA-7B00F6FB4342}"/>
              </a:ext>
            </a:extLst>
          </p:cNvPr>
          <p:cNvSpPr/>
          <p:nvPr userDrawn="1"/>
        </p:nvSpPr>
        <p:spPr>
          <a:xfrm>
            <a:off x="10508317" y="492206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accent2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4" name="Elemento grafico 16">
            <a:extLst>
              <a:ext uri="{FF2B5EF4-FFF2-40B4-BE49-F238E27FC236}">
                <a16:creationId xmlns:a16="http://schemas.microsoft.com/office/drawing/2014/main" id="{9BBD3F4B-0836-48C5-AC68-747456D1DD50}"/>
              </a:ext>
            </a:extLst>
          </p:cNvPr>
          <p:cNvSpPr/>
          <p:nvPr userDrawn="1"/>
        </p:nvSpPr>
        <p:spPr>
          <a:xfrm>
            <a:off x="11477944" y="1055581"/>
            <a:ext cx="127714" cy="127714"/>
          </a:xfrm>
          <a:custGeom>
            <a:avLst/>
            <a:gdLst>
              <a:gd name="connsiteX0" fmla="*/ 63857 w 127714"/>
              <a:gd name="connsiteY0" fmla="*/ 18874 h 127714"/>
              <a:gd name="connsiteX1" fmla="*/ 108840 w 127714"/>
              <a:gd name="connsiteY1" fmla="*/ 63857 h 127714"/>
              <a:gd name="connsiteX2" fmla="*/ 63857 w 127714"/>
              <a:gd name="connsiteY2" fmla="*/ 108840 h 127714"/>
              <a:gd name="connsiteX3" fmla="*/ 18874 w 127714"/>
              <a:gd name="connsiteY3" fmla="*/ 63857 h 127714"/>
              <a:gd name="connsiteX4" fmla="*/ 63857 w 127714"/>
              <a:gd name="connsiteY4" fmla="*/ 18874 h 127714"/>
              <a:gd name="connsiteX5" fmla="*/ 63857 w 127714"/>
              <a:gd name="connsiteY5" fmla="*/ 0 h 127714"/>
              <a:gd name="connsiteX6" fmla="*/ 0 w 127714"/>
              <a:gd name="connsiteY6" fmla="*/ 63857 h 127714"/>
              <a:gd name="connsiteX7" fmla="*/ 63857 w 127714"/>
              <a:gd name="connsiteY7" fmla="*/ 127714 h 127714"/>
              <a:gd name="connsiteX8" fmla="*/ 127714 w 127714"/>
              <a:gd name="connsiteY8" fmla="*/ 63857 h 127714"/>
              <a:gd name="connsiteX9" fmla="*/ 63857 w 127714"/>
              <a:gd name="connsiteY9" fmla="*/ 0 h 12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4" h="127714">
                <a:moveTo>
                  <a:pt x="63857" y="18874"/>
                </a:moveTo>
                <a:cubicBezTo>
                  <a:pt x="88700" y="18874"/>
                  <a:pt x="108840" y="39014"/>
                  <a:pt x="108840" y="63857"/>
                </a:cubicBezTo>
                <a:cubicBezTo>
                  <a:pt x="108840" y="88700"/>
                  <a:pt x="88700" y="108840"/>
                  <a:pt x="63857" y="108840"/>
                </a:cubicBezTo>
                <a:cubicBezTo>
                  <a:pt x="39014" y="108840"/>
                  <a:pt x="18874" y="88700"/>
                  <a:pt x="18874" y="63857"/>
                </a:cubicBezTo>
                <a:cubicBezTo>
                  <a:pt x="18898" y="39024"/>
                  <a:pt x="39024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4"/>
                  <a:pt x="63857" y="127714"/>
                </a:cubicBezTo>
                <a:cubicBezTo>
                  <a:pt x="99124" y="127714"/>
                  <a:pt x="127714" y="99124"/>
                  <a:pt x="127714" y="63857"/>
                </a:cubicBezTo>
                <a:cubicBezTo>
                  <a:pt x="127714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2"/>
          </a:solidFill>
          <a:ln w="61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6" name="Elemento grafico 14">
            <a:extLst>
              <a:ext uri="{FF2B5EF4-FFF2-40B4-BE49-F238E27FC236}">
                <a16:creationId xmlns:a16="http://schemas.microsoft.com/office/drawing/2014/main" id="{9B4398D5-99F4-4F83-AA77-9B4177648CAF}"/>
              </a:ext>
            </a:extLst>
          </p:cNvPr>
          <p:cNvSpPr/>
          <p:nvPr userDrawn="1"/>
        </p:nvSpPr>
        <p:spPr>
          <a:xfrm>
            <a:off x="11241555" y="446637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2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5" name="Segnaposto testo 4">
            <a:extLst>
              <a:ext uri="{FF2B5EF4-FFF2-40B4-BE49-F238E27FC236}">
                <a16:creationId xmlns:a16="http://schemas.microsoft.com/office/drawing/2014/main" id="{2D693B15-7265-4478-9579-62FCD5222D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31352" y="1769269"/>
            <a:ext cx="2834640" cy="82391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it-IT" noProof="0"/>
              <a:t>Fare clic per modificare gli stili del testo dello schema</a:t>
            </a:r>
          </a:p>
        </p:txBody>
      </p:sp>
      <p:sp>
        <p:nvSpPr>
          <p:cNvPr id="17" name="Segnaposto contenuto 5">
            <a:extLst>
              <a:ext uri="{FF2B5EF4-FFF2-40B4-BE49-F238E27FC236}">
                <a16:creationId xmlns:a16="http://schemas.microsoft.com/office/drawing/2014/main" id="{48F9E92F-BB16-4896-A47F-6497C3D705B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531352" y="2593181"/>
            <a:ext cx="2834640" cy="3684588"/>
          </a:xfrm>
        </p:spPr>
        <p:txBody>
          <a:bodyPr rtlCol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3730798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6640AAD-80AF-40E7-BE3F-43D32FC68E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91656" y="804672"/>
            <a:ext cx="4434840" cy="886968"/>
          </a:xfrm>
        </p:spPr>
        <p:txBody>
          <a:bodyPr rtlCol="0" anchor="b"/>
          <a:lstStyle>
            <a:lvl1pPr algn="l">
              <a:defRPr sz="5400" b="0" i="0" cap="none" baseline="0"/>
            </a:lvl1pPr>
          </a:lstStyle>
          <a:p>
            <a:pPr rtl="0"/>
            <a:r>
              <a:rPr lang="it-IT" noProof="0"/>
              <a:t>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C80FBD9-0977-4B2B-9318-30774BB094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91654" y="1801368"/>
            <a:ext cx="4434840" cy="4754880"/>
          </a:xfrm>
        </p:spPr>
        <p:txBody>
          <a:bodyPr rtlCol="0">
            <a:normAutofit/>
          </a:bodyPr>
          <a:lstStyle>
            <a:lvl1pPr marL="0" indent="0" algn="l">
              <a:lnSpc>
                <a:spcPct val="11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it-IT" noProof="0"/>
              <a:t>Fare clic per modificare lo stile del sottotitolo dello schema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F8C2A2A-62DB-40C0-8AE7-CB9B98649B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11512" y="1591056"/>
            <a:ext cx="3547872" cy="365125"/>
          </a:xfrm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it-IT" noProof="0"/>
              <a:t>Titolo della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01EAA4-F44C-4C1F-B8E3-1A3005300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fld id="{D8DA9DAA-006C-4F4B-980E-E3DF019B24E2}" type="slidenum">
              <a:rPr lang="it-IT" noProof="0" smtClean="0"/>
              <a:pPr/>
              <a:t>‹N›</a:t>
            </a:fld>
            <a:endParaRPr lang="it-IT" noProof="0"/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6939C974-0ED4-4915-BBF7-1FB00C18AD45}"/>
              </a:ext>
            </a:extLst>
          </p:cNvPr>
          <p:cNvCxnSpPr>
            <a:cxnSpLocks/>
          </p:cNvCxnSpPr>
          <p:nvPr userDrawn="1"/>
        </p:nvCxnSpPr>
        <p:spPr>
          <a:xfrm>
            <a:off x="11586162" y="3619272"/>
            <a:ext cx="0" cy="3238728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tangolo 8">
            <a:extLst>
              <a:ext uri="{FF2B5EF4-FFF2-40B4-BE49-F238E27FC236}">
                <a16:creationId xmlns:a16="http://schemas.microsoft.com/office/drawing/2014/main" id="{515930B2-E36D-4D05-A6B3-CA1BF61D50CC}"/>
              </a:ext>
            </a:extLst>
          </p:cNvPr>
          <p:cNvSpPr/>
          <p:nvPr userDrawn="1"/>
        </p:nvSpPr>
        <p:spPr>
          <a:xfrm>
            <a:off x="0" y="0"/>
            <a:ext cx="5779911" cy="6858000"/>
          </a:xfrm>
          <a:prstGeom prst="rect">
            <a:avLst/>
          </a:prstGeom>
          <a:gradFill flip="none" rotWithShape="1">
            <a:gsLst>
              <a:gs pos="100000">
                <a:schemeClr val="accent4"/>
              </a:gs>
              <a:gs pos="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13" name="Segnaposto immagine 12">
            <a:extLst>
              <a:ext uri="{FF2B5EF4-FFF2-40B4-BE49-F238E27FC236}">
                <a16:creationId xmlns:a16="http://schemas.microsoft.com/office/drawing/2014/main" id="{9CEC7E0F-60E8-418B-978D-C607C82E97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83464" y="3108960"/>
            <a:ext cx="5221224" cy="3447288"/>
          </a:xfrm>
        </p:spPr>
        <p:txBody>
          <a:bodyPr rtlCol="0" anchor="ctr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10" name="Segnaposto immagine 12">
            <a:extLst>
              <a:ext uri="{FF2B5EF4-FFF2-40B4-BE49-F238E27FC236}">
                <a16:creationId xmlns:a16="http://schemas.microsoft.com/office/drawing/2014/main" id="{F146D6C1-343E-4F97-A565-55BBB15F4C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3464" y="301752"/>
            <a:ext cx="2459736" cy="2505456"/>
          </a:xfrm>
        </p:spPr>
        <p:txBody>
          <a:bodyPr rtlCol="0" anchor="ctr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11" name="Segnaposto immagine 12">
            <a:extLst>
              <a:ext uri="{FF2B5EF4-FFF2-40B4-BE49-F238E27FC236}">
                <a16:creationId xmlns:a16="http://schemas.microsoft.com/office/drawing/2014/main" id="{BA123E2D-4554-47D5-B0EC-0C47EDB4162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952" y="301752"/>
            <a:ext cx="2459736" cy="2505456"/>
          </a:xfrm>
        </p:spPr>
        <p:txBody>
          <a:bodyPr rtlCol="0" anchor="ctr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1257891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egnaposto immagine 32">
            <a:extLst>
              <a:ext uri="{FF2B5EF4-FFF2-40B4-BE49-F238E27FC236}">
                <a16:creationId xmlns:a16="http://schemas.microsoft.com/office/drawing/2014/main" id="{3186EA6A-5CD5-4DF7-9C8A-EDFAF28A80D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77111" y="407499"/>
            <a:ext cx="1952279" cy="1952279"/>
          </a:xfrm>
          <a:custGeom>
            <a:avLst/>
            <a:gdLst>
              <a:gd name="connsiteX0" fmla="*/ 976140 w 1952279"/>
              <a:gd name="connsiteY0" fmla="*/ 0 h 1952279"/>
              <a:gd name="connsiteX1" fmla="*/ 1952279 w 1952279"/>
              <a:gd name="connsiteY1" fmla="*/ 976140 h 1952279"/>
              <a:gd name="connsiteX2" fmla="*/ 976140 w 1952279"/>
              <a:gd name="connsiteY2" fmla="*/ 1952279 h 1952279"/>
              <a:gd name="connsiteX3" fmla="*/ 0 w 1952279"/>
              <a:gd name="connsiteY3" fmla="*/ 976140 h 1952279"/>
              <a:gd name="connsiteX4" fmla="*/ 976140 w 1952279"/>
              <a:gd name="connsiteY4" fmla="*/ 0 h 1952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2279" h="1952279">
                <a:moveTo>
                  <a:pt x="976140" y="0"/>
                </a:moveTo>
                <a:cubicBezTo>
                  <a:pt x="1515247" y="0"/>
                  <a:pt x="1952279" y="437033"/>
                  <a:pt x="1952279" y="976140"/>
                </a:cubicBezTo>
                <a:cubicBezTo>
                  <a:pt x="1952279" y="1515246"/>
                  <a:pt x="1515247" y="1952279"/>
                  <a:pt x="976140" y="1952279"/>
                </a:cubicBezTo>
                <a:cubicBezTo>
                  <a:pt x="437033" y="1952279"/>
                  <a:pt x="0" y="1515246"/>
                  <a:pt x="0" y="976140"/>
                </a:cubicBezTo>
                <a:cubicBezTo>
                  <a:pt x="0" y="437033"/>
                  <a:pt x="437033" y="0"/>
                  <a:pt x="976140" y="0"/>
                </a:cubicBezTo>
                <a:close/>
              </a:path>
            </a:pathLst>
          </a:custGeom>
        </p:spPr>
        <p:txBody>
          <a:bodyPr wrap="square" rtlCol="0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2" name="Segnaposto immagine 31">
            <a:extLst>
              <a:ext uri="{FF2B5EF4-FFF2-40B4-BE49-F238E27FC236}">
                <a16:creationId xmlns:a16="http://schemas.microsoft.com/office/drawing/2014/main" id="{83D5117F-F235-498D-99A5-9DE2D66557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28345" y="1972581"/>
            <a:ext cx="2290065" cy="2273502"/>
          </a:xfrm>
          <a:custGeom>
            <a:avLst/>
            <a:gdLst>
              <a:gd name="connsiteX0" fmla="*/ 1145032 w 2290065"/>
              <a:gd name="connsiteY0" fmla="*/ 0 h 2273502"/>
              <a:gd name="connsiteX1" fmla="*/ 2290065 w 2290065"/>
              <a:gd name="connsiteY1" fmla="*/ 1145033 h 2273502"/>
              <a:gd name="connsiteX2" fmla="*/ 1375797 w 2290065"/>
              <a:gd name="connsiteY2" fmla="*/ 2266803 h 2273502"/>
              <a:gd name="connsiteX3" fmla="*/ 1331903 w 2290065"/>
              <a:gd name="connsiteY3" fmla="*/ 2273502 h 2273502"/>
              <a:gd name="connsiteX4" fmla="*/ 958162 w 2290065"/>
              <a:gd name="connsiteY4" fmla="*/ 2273502 h 2273502"/>
              <a:gd name="connsiteX5" fmla="*/ 914268 w 2290065"/>
              <a:gd name="connsiteY5" fmla="*/ 2266803 h 2273502"/>
              <a:gd name="connsiteX6" fmla="*/ 5911 w 2290065"/>
              <a:gd name="connsiteY6" fmla="*/ 1262106 h 2273502"/>
              <a:gd name="connsiteX7" fmla="*/ 0 w 2290065"/>
              <a:gd name="connsiteY7" fmla="*/ 1145053 h 2273502"/>
              <a:gd name="connsiteX8" fmla="*/ 0 w 2290065"/>
              <a:gd name="connsiteY8" fmla="*/ 1145014 h 2273502"/>
              <a:gd name="connsiteX9" fmla="*/ 5911 w 2290065"/>
              <a:gd name="connsiteY9" fmla="*/ 1027960 h 2273502"/>
              <a:gd name="connsiteX10" fmla="*/ 1145032 w 2290065"/>
              <a:gd name="connsiteY10" fmla="*/ 0 h 227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90065" h="2273502">
                <a:moveTo>
                  <a:pt x="1145032" y="0"/>
                </a:moveTo>
                <a:cubicBezTo>
                  <a:pt x="1777417" y="0"/>
                  <a:pt x="2290065" y="512649"/>
                  <a:pt x="2290065" y="1145033"/>
                </a:cubicBezTo>
                <a:cubicBezTo>
                  <a:pt x="2290065" y="1698370"/>
                  <a:pt x="1897569" y="2160033"/>
                  <a:pt x="1375797" y="2266803"/>
                </a:cubicBezTo>
                <a:lnTo>
                  <a:pt x="1331903" y="2273502"/>
                </a:lnTo>
                <a:lnTo>
                  <a:pt x="958162" y="2273502"/>
                </a:lnTo>
                <a:lnTo>
                  <a:pt x="914268" y="2266803"/>
                </a:lnTo>
                <a:cubicBezTo>
                  <a:pt x="429765" y="2167660"/>
                  <a:pt x="56730" y="1762511"/>
                  <a:pt x="5911" y="1262106"/>
                </a:cubicBezTo>
                <a:lnTo>
                  <a:pt x="0" y="1145053"/>
                </a:lnTo>
                <a:lnTo>
                  <a:pt x="0" y="1145014"/>
                </a:lnTo>
                <a:lnTo>
                  <a:pt x="5911" y="1027960"/>
                </a:lnTo>
                <a:cubicBezTo>
                  <a:pt x="64548" y="450571"/>
                  <a:pt x="552172" y="0"/>
                  <a:pt x="1145032" y="0"/>
                </a:cubicBezTo>
                <a:close/>
              </a:path>
            </a:pathLst>
          </a:custGeom>
        </p:spPr>
        <p:txBody>
          <a:bodyPr wrap="square" rtlCol="0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1" name="Segnaposto immagine 30">
            <a:extLst>
              <a:ext uri="{FF2B5EF4-FFF2-40B4-BE49-F238E27FC236}">
                <a16:creationId xmlns:a16="http://schemas.microsoft.com/office/drawing/2014/main" id="{E1E0A794-F1D3-4628-B5B1-9D48AB34C3D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79539" y="4386312"/>
            <a:ext cx="3119293" cy="2462810"/>
          </a:xfrm>
          <a:custGeom>
            <a:avLst/>
            <a:gdLst>
              <a:gd name="connsiteX0" fmla="*/ 1559647 w 3119293"/>
              <a:gd name="connsiteY0" fmla="*/ 0 h 2462810"/>
              <a:gd name="connsiteX1" fmla="*/ 3119293 w 3119293"/>
              <a:gd name="connsiteY1" fmla="*/ 1559647 h 2462810"/>
              <a:gd name="connsiteX2" fmla="*/ 2852930 w 3119293"/>
              <a:gd name="connsiteY2" fmla="*/ 2431660 h 2462810"/>
              <a:gd name="connsiteX3" fmla="*/ 2829636 w 3119293"/>
              <a:gd name="connsiteY3" fmla="*/ 2462810 h 2462810"/>
              <a:gd name="connsiteX4" fmla="*/ 289658 w 3119293"/>
              <a:gd name="connsiteY4" fmla="*/ 2462810 h 2462810"/>
              <a:gd name="connsiteX5" fmla="*/ 266363 w 3119293"/>
              <a:gd name="connsiteY5" fmla="*/ 2431660 h 2462810"/>
              <a:gd name="connsiteX6" fmla="*/ 0 w 3119293"/>
              <a:gd name="connsiteY6" fmla="*/ 1559647 h 2462810"/>
              <a:gd name="connsiteX7" fmla="*/ 1559647 w 3119293"/>
              <a:gd name="connsiteY7" fmla="*/ 0 h 2462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9293" h="2462810">
                <a:moveTo>
                  <a:pt x="1559647" y="0"/>
                </a:moveTo>
                <a:cubicBezTo>
                  <a:pt x="2421016" y="0"/>
                  <a:pt x="3119293" y="698278"/>
                  <a:pt x="3119293" y="1559647"/>
                </a:cubicBezTo>
                <a:cubicBezTo>
                  <a:pt x="3119293" y="1882660"/>
                  <a:pt x="3021098" y="2182739"/>
                  <a:pt x="2852930" y="2431660"/>
                </a:cubicBezTo>
                <a:lnTo>
                  <a:pt x="2829636" y="2462810"/>
                </a:lnTo>
                <a:lnTo>
                  <a:pt x="289658" y="2462810"/>
                </a:lnTo>
                <a:lnTo>
                  <a:pt x="266363" y="2431660"/>
                </a:lnTo>
                <a:cubicBezTo>
                  <a:pt x="98195" y="2182739"/>
                  <a:pt x="0" y="1882660"/>
                  <a:pt x="0" y="1559647"/>
                </a:cubicBezTo>
                <a:cubicBezTo>
                  <a:pt x="0" y="698278"/>
                  <a:pt x="698278" y="0"/>
                  <a:pt x="1559647" y="0"/>
                </a:cubicBezTo>
                <a:close/>
              </a:path>
            </a:pathLst>
          </a:custGeom>
        </p:spPr>
        <p:txBody>
          <a:bodyPr wrap="square" rtlCol="0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0" name="Segnaposto immagine 29">
            <a:extLst>
              <a:ext uri="{FF2B5EF4-FFF2-40B4-BE49-F238E27FC236}">
                <a16:creationId xmlns:a16="http://schemas.microsoft.com/office/drawing/2014/main" id="{B8D3F45B-B631-47D3-A33C-71CEC2B3602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92905" y="4018982"/>
            <a:ext cx="3854161" cy="2839018"/>
          </a:xfrm>
          <a:custGeom>
            <a:avLst/>
            <a:gdLst>
              <a:gd name="connsiteX0" fmla="*/ 1927061 w 3854161"/>
              <a:gd name="connsiteY0" fmla="*/ 0 h 2839018"/>
              <a:gd name="connsiteX1" fmla="*/ 1927101 w 3854161"/>
              <a:gd name="connsiteY1" fmla="*/ 0 h 2839018"/>
              <a:gd name="connsiteX2" fmla="*/ 2124114 w 3854161"/>
              <a:gd name="connsiteY2" fmla="*/ 9948 h 2839018"/>
              <a:gd name="connsiteX3" fmla="*/ 3854161 w 3854161"/>
              <a:gd name="connsiteY3" fmla="*/ 1927080 h 2839018"/>
              <a:gd name="connsiteX4" fmla="*/ 3702722 w 3854161"/>
              <a:gd name="connsiteY4" fmla="*/ 2677187 h 2839018"/>
              <a:gd name="connsiteX5" fmla="*/ 3624763 w 3854161"/>
              <a:gd name="connsiteY5" fmla="*/ 2839018 h 2839018"/>
              <a:gd name="connsiteX6" fmla="*/ 229398 w 3854161"/>
              <a:gd name="connsiteY6" fmla="*/ 2839018 h 2839018"/>
              <a:gd name="connsiteX7" fmla="*/ 151440 w 3854161"/>
              <a:gd name="connsiteY7" fmla="*/ 2677187 h 2839018"/>
              <a:gd name="connsiteX8" fmla="*/ 0 w 3854161"/>
              <a:gd name="connsiteY8" fmla="*/ 1927080 h 2839018"/>
              <a:gd name="connsiteX9" fmla="*/ 1730048 w 3854161"/>
              <a:gd name="connsiteY9" fmla="*/ 9948 h 283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54161" h="2839018">
                <a:moveTo>
                  <a:pt x="1927061" y="0"/>
                </a:moveTo>
                <a:lnTo>
                  <a:pt x="1927101" y="0"/>
                </a:lnTo>
                <a:lnTo>
                  <a:pt x="2124114" y="9948"/>
                </a:lnTo>
                <a:cubicBezTo>
                  <a:pt x="3095856" y="108634"/>
                  <a:pt x="3854161" y="929301"/>
                  <a:pt x="3854161" y="1927080"/>
                </a:cubicBezTo>
                <a:cubicBezTo>
                  <a:pt x="3854161" y="2193154"/>
                  <a:pt x="3800237" y="2446634"/>
                  <a:pt x="3702722" y="2677187"/>
                </a:cubicBezTo>
                <a:lnTo>
                  <a:pt x="3624763" y="2839018"/>
                </a:lnTo>
                <a:lnTo>
                  <a:pt x="229398" y="2839018"/>
                </a:lnTo>
                <a:lnTo>
                  <a:pt x="151440" y="2677187"/>
                </a:lnTo>
                <a:cubicBezTo>
                  <a:pt x="53924" y="2446634"/>
                  <a:pt x="0" y="2193154"/>
                  <a:pt x="0" y="1927080"/>
                </a:cubicBezTo>
                <a:cubicBezTo>
                  <a:pt x="0" y="929301"/>
                  <a:pt x="758305" y="108634"/>
                  <a:pt x="1730048" y="9948"/>
                </a:cubicBezTo>
                <a:close/>
              </a:path>
            </a:pathLst>
          </a:custGeom>
        </p:spPr>
        <p:txBody>
          <a:bodyPr wrap="square" rtlCol="0" anchor="ctr">
            <a:noAutofit/>
          </a:bodyPr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969F227-D21C-48B3-828A-6BFA9585E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20" y="585216"/>
            <a:ext cx="5276088" cy="2276856"/>
          </a:xfrm>
        </p:spPr>
        <p:txBody>
          <a:bodyPr rtlCol="0" anchor="b"/>
          <a:lstStyle>
            <a:lvl1pPr algn="r">
              <a:defRPr sz="4800" b="1" cap="all" spc="40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8DF1DFFF-E5C5-43DF-B71C-7270DB973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58368" y="201168"/>
            <a:ext cx="2743200" cy="365125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03/09/20XX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EBC03C0-6EB7-4633-967C-12C35768B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-548640" y="1938528"/>
            <a:ext cx="2788920" cy="365125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Titolo della presentazion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0FF4306-91CD-4B7B-8A53-34BE8F997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201168"/>
            <a:ext cx="2743200" cy="365125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fld id="{D8DA9DAA-006C-4F4B-980E-E3DF019B24E2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8" name="Elemento grafico 32">
            <a:extLst>
              <a:ext uri="{FF2B5EF4-FFF2-40B4-BE49-F238E27FC236}">
                <a16:creationId xmlns:a16="http://schemas.microsoft.com/office/drawing/2014/main" id="{846CD0EA-B0AA-4845-81A5-4ADD7C58B12F}"/>
              </a:ext>
            </a:extLst>
          </p:cNvPr>
          <p:cNvSpPr/>
          <p:nvPr userDrawn="1"/>
        </p:nvSpPr>
        <p:spPr>
          <a:xfrm>
            <a:off x="1472366" y="1859534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bg1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0" name="Elemento grafico 33">
            <a:extLst>
              <a:ext uri="{FF2B5EF4-FFF2-40B4-BE49-F238E27FC236}">
                <a16:creationId xmlns:a16="http://schemas.microsoft.com/office/drawing/2014/main" id="{0E97A0CB-7CB1-47F0-BD48-EEECBAC39CD2}"/>
              </a:ext>
            </a:extLst>
          </p:cNvPr>
          <p:cNvSpPr/>
          <p:nvPr userDrawn="1"/>
        </p:nvSpPr>
        <p:spPr>
          <a:xfrm>
            <a:off x="2014523" y="3146867"/>
            <a:ext cx="127714" cy="127714"/>
          </a:xfrm>
          <a:custGeom>
            <a:avLst/>
            <a:gdLst>
              <a:gd name="connsiteX0" fmla="*/ 63857 w 127714"/>
              <a:gd name="connsiteY0" fmla="*/ 18874 h 127714"/>
              <a:gd name="connsiteX1" fmla="*/ 108840 w 127714"/>
              <a:gd name="connsiteY1" fmla="*/ 63857 h 127714"/>
              <a:gd name="connsiteX2" fmla="*/ 63857 w 127714"/>
              <a:gd name="connsiteY2" fmla="*/ 108840 h 127714"/>
              <a:gd name="connsiteX3" fmla="*/ 18874 w 127714"/>
              <a:gd name="connsiteY3" fmla="*/ 63857 h 127714"/>
              <a:gd name="connsiteX4" fmla="*/ 63857 w 127714"/>
              <a:gd name="connsiteY4" fmla="*/ 18874 h 127714"/>
              <a:gd name="connsiteX5" fmla="*/ 63857 w 127714"/>
              <a:gd name="connsiteY5" fmla="*/ 0 h 127714"/>
              <a:gd name="connsiteX6" fmla="*/ 0 w 127714"/>
              <a:gd name="connsiteY6" fmla="*/ 63857 h 127714"/>
              <a:gd name="connsiteX7" fmla="*/ 63857 w 127714"/>
              <a:gd name="connsiteY7" fmla="*/ 127714 h 127714"/>
              <a:gd name="connsiteX8" fmla="*/ 127714 w 127714"/>
              <a:gd name="connsiteY8" fmla="*/ 63857 h 127714"/>
              <a:gd name="connsiteX9" fmla="*/ 63857 w 127714"/>
              <a:gd name="connsiteY9" fmla="*/ 0 h 12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4" h="127714">
                <a:moveTo>
                  <a:pt x="63857" y="18874"/>
                </a:moveTo>
                <a:cubicBezTo>
                  <a:pt x="88700" y="18874"/>
                  <a:pt x="108840" y="39014"/>
                  <a:pt x="108840" y="63857"/>
                </a:cubicBezTo>
                <a:cubicBezTo>
                  <a:pt x="108840" y="88700"/>
                  <a:pt x="88700" y="108840"/>
                  <a:pt x="63857" y="108840"/>
                </a:cubicBezTo>
                <a:cubicBezTo>
                  <a:pt x="39014" y="108840"/>
                  <a:pt x="18874" y="88700"/>
                  <a:pt x="18874" y="63857"/>
                </a:cubicBezTo>
                <a:cubicBezTo>
                  <a:pt x="18898" y="39024"/>
                  <a:pt x="39024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4"/>
                  <a:pt x="63857" y="127714"/>
                </a:cubicBezTo>
                <a:cubicBezTo>
                  <a:pt x="99124" y="127714"/>
                  <a:pt x="127714" y="99124"/>
                  <a:pt x="127714" y="63857"/>
                </a:cubicBezTo>
                <a:cubicBezTo>
                  <a:pt x="127714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bg1"/>
          </a:solidFill>
          <a:ln w="61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2" name="Elemento grafico 31">
            <a:extLst>
              <a:ext uri="{FF2B5EF4-FFF2-40B4-BE49-F238E27FC236}">
                <a16:creationId xmlns:a16="http://schemas.microsoft.com/office/drawing/2014/main" id="{477816C9-06CB-4BC5-B26B-6A2877BD941A}"/>
              </a:ext>
            </a:extLst>
          </p:cNvPr>
          <p:cNvSpPr/>
          <p:nvPr userDrawn="1"/>
        </p:nvSpPr>
        <p:spPr>
          <a:xfrm>
            <a:off x="5404920" y="4508295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bg1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13AE7F8D-AE68-4A83-BAB5-3A97D473CE3C}"/>
              </a:ext>
            </a:extLst>
          </p:cNvPr>
          <p:cNvCxnSpPr>
            <a:cxnSpLocks/>
          </p:cNvCxnSpPr>
          <p:nvPr userDrawn="1"/>
        </p:nvCxnSpPr>
        <p:spPr>
          <a:xfrm>
            <a:off x="856114" y="3503032"/>
            <a:ext cx="0" cy="3346090"/>
          </a:xfrm>
          <a:prstGeom prst="line">
            <a:avLst/>
          </a:prstGeom>
          <a:ln w="25400" cap="sq">
            <a:solidFill>
              <a:schemeClr val="bg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A928810C-E773-43AE-A2A1-4073955CC8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20" y="3127248"/>
            <a:ext cx="5276088" cy="1124712"/>
          </a:xfrm>
        </p:spPr>
        <p:txBody>
          <a:bodyPr rtlCol="0"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010451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969F227-D21C-48B3-828A-6BFA9585E8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8DF1DFFF-E5C5-43DF-B71C-7270DB973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it-IT" noProof="0"/>
              <a:t>03/09/20XX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EBC03C0-6EB7-4633-967C-12C35768B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it-IT" noProof="0"/>
              <a:t>Titolo presentazion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0FF4306-91CD-4B7B-8A53-34BE8F997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8DA9DAA-006C-4F4B-980E-E3DF019B24E2}" type="slidenum">
              <a:rPr lang="it-IT" noProof="0" smtClean="0"/>
              <a:t>‹N›</a:t>
            </a:fld>
            <a:endParaRPr lang="it-IT" noProof="0"/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57596AF9-469C-436D-B7D2-77952EF1825E}"/>
              </a:ext>
            </a:extLst>
          </p:cNvPr>
          <p:cNvCxnSpPr>
            <a:cxnSpLocks/>
          </p:cNvCxnSpPr>
          <p:nvPr/>
        </p:nvCxnSpPr>
        <p:spPr>
          <a:xfrm>
            <a:off x="715890" y="356812"/>
            <a:ext cx="0" cy="6492875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32910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DFF36D6-399B-43E3-84DD-9FC5119ECC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it-IT" noProof="0"/>
              <a:t>03/09/20XX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50234AB7-3B85-4028-A500-5A1BDBF45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it-IT" noProof="0"/>
              <a:t>Titolo presentazione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AC1F40F0-9909-442F-BBA4-409D061ED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8DA9DAA-006C-4F4B-980E-E3DF019B24E2}" type="slidenum">
              <a:rPr lang="it-IT" noProof="0" smtClean="0"/>
              <a:t>‹N›</a:t>
            </a:fld>
            <a:endParaRPr lang="it-IT" noProof="0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353C1207-D1C8-49E3-8837-E2B89D366FAE}"/>
              </a:ext>
            </a:extLst>
          </p:cNvPr>
          <p:cNvCxnSpPr>
            <a:cxnSpLocks/>
          </p:cNvCxnSpPr>
          <p:nvPr/>
        </p:nvCxnSpPr>
        <p:spPr>
          <a:xfrm>
            <a:off x="715890" y="356812"/>
            <a:ext cx="0" cy="6492875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676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540F214-646F-4D81-AD12-65628EC98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0" anchor="b"/>
          <a:lstStyle>
            <a:lvl1pPr>
              <a:defRPr sz="3200"/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EF71768-C3FA-49EF-99EF-06E6C3B28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 rtlCol="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2DA6F24-ED6C-4D12-A9D6-EE37FBD686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it-IT" noProof="0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38E6AACE-FAFB-4934-8E3C-AB5B21635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it-IT" noProof="0"/>
              <a:t>03/09/20XX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81533EA-D0F8-4C79-8721-F190DE2D2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it-IT" noProof="0"/>
              <a:t>Titolo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A059BAC9-F101-4394-BBA4-3D21A3497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8DA9DAA-006C-4F4B-980E-E3DF019B24E2}" type="slidenum">
              <a:rPr lang="it-IT" noProof="0" smtClean="0"/>
              <a:t>‹N›</a:t>
            </a:fld>
            <a:endParaRPr lang="it-IT" noProof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0F3A79C9-7EDC-44F6-AC48-5DD98A7695AD}"/>
              </a:ext>
            </a:extLst>
          </p:cNvPr>
          <p:cNvCxnSpPr>
            <a:cxnSpLocks/>
          </p:cNvCxnSpPr>
          <p:nvPr/>
        </p:nvCxnSpPr>
        <p:spPr>
          <a:xfrm>
            <a:off x="715890" y="356812"/>
            <a:ext cx="0" cy="6492875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68059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84CB71F-B6C2-4866-BC97-304F78816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rtlCol="0" anchor="b"/>
          <a:lstStyle>
            <a:lvl1pPr>
              <a:defRPr sz="3200"/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55ED73B-8413-478D-80D7-B78B69763B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1BDF226-1B94-4D2D-98B3-7B932FB17D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 rtlCol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it-IT" noProof="0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100C4E9A-CA29-4CCD-ACFA-B29F80FBA1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it-IT" noProof="0"/>
              <a:t>03/09/20XX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1A5B7BE-3F1B-4FF3-B1D7-6E39B99D0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it-IT" noProof="0"/>
              <a:t>Titolo presentazio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42F18F1-E27E-470E-AE13-4755DEE63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8DA9DAA-006C-4F4B-980E-E3DF019B24E2}" type="slidenum">
              <a:rPr lang="it-IT" noProof="0" smtClean="0"/>
              <a:t>‹N›</a:t>
            </a:fld>
            <a:endParaRPr lang="it-IT" noProof="0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00F08750-B7F2-4119-B151-68DE77481335}"/>
              </a:ext>
            </a:extLst>
          </p:cNvPr>
          <p:cNvCxnSpPr>
            <a:cxnSpLocks/>
          </p:cNvCxnSpPr>
          <p:nvPr/>
        </p:nvCxnSpPr>
        <p:spPr>
          <a:xfrm>
            <a:off x="715890" y="356812"/>
            <a:ext cx="0" cy="6492875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775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6640AAD-80AF-40E7-BE3F-43D32FC68E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8448" y="594360"/>
            <a:ext cx="6272784" cy="2843784"/>
          </a:xfrm>
        </p:spPr>
        <p:txBody>
          <a:bodyPr rtlCol="0" anchor="b"/>
          <a:lstStyle>
            <a:lvl1pPr algn="l">
              <a:defRPr sz="5400" b="1" i="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C80FBD9-0977-4B2B-9318-30774BB094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41848" y="4700016"/>
            <a:ext cx="5093208" cy="1197864"/>
          </a:xfrm>
        </p:spPr>
        <p:txBody>
          <a:bodyPr rtlCol="0"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it-IT" noProof="0"/>
              <a:t>Fare clic per modificare lo stile del sottotitolo dello schema</a:t>
            </a:r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8E825845-66DD-4B77-A729-CD97D156FE6C}"/>
              </a:ext>
            </a:extLst>
          </p:cNvPr>
          <p:cNvCxnSpPr>
            <a:cxnSpLocks/>
          </p:cNvCxnSpPr>
          <p:nvPr userDrawn="1"/>
        </p:nvCxnSpPr>
        <p:spPr>
          <a:xfrm>
            <a:off x="1301262" y="3496322"/>
            <a:ext cx="0" cy="3352800"/>
          </a:xfrm>
          <a:prstGeom prst="line">
            <a:avLst/>
          </a:prstGeom>
          <a:ln w="25400" cap="sq">
            <a:solidFill>
              <a:schemeClr val="bg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emento grafico 12">
            <a:extLst>
              <a:ext uri="{FF2B5EF4-FFF2-40B4-BE49-F238E27FC236}">
                <a16:creationId xmlns:a16="http://schemas.microsoft.com/office/drawing/2014/main" id="{818B4386-1FCF-4ACE-BE25-AF9CC5E2256F}"/>
              </a:ext>
            </a:extLst>
          </p:cNvPr>
          <p:cNvSpPr/>
          <p:nvPr userDrawn="1"/>
        </p:nvSpPr>
        <p:spPr>
          <a:xfrm>
            <a:off x="8217780" y="2973840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bg1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21" name="Elemento grafico 13">
            <a:extLst>
              <a:ext uri="{FF2B5EF4-FFF2-40B4-BE49-F238E27FC236}">
                <a16:creationId xmlns:a16="http://schemas.microsoft.com/office/drawing/2014/main" id="{19319560-50ED-4963-A2CF-74663239D426}"/>
              </a:ext>
            </a:extLst>
          </p:cNvPr>
          <p:cNvSpPr/>
          <p:nvPr userDrawn="1"/>
        </p:nvSpPr>
        <p:spPr>
          <a:xfrm>
            <a:off x="7859002" y="2744546"/>
            <a:ext cx="139038" cy="139038"/>
          </a:xfrm>
          <a:custGeom>
            <a:avLst/>
            <a:gdLst>
              <a:gd name="connsiteX0" fmla="*/ 129601 w 139038"/>
              <a:gd name="connsiteY0" fmla="*/ 60082 h 139038"/>
              <a:gd name="connsiteX1" fmla="*/ 78956 w 139038"/>
              <a:gd name="connsiteY1" fmla="*/ 60082 h 139038"/>
              <a:gd name="connsiteX2" fmla="*/ 78956 w 139038"/>
              <a:gd name="connsiteY2" fmla="*/ 9437 h 139038"/>
              <a:gd name="connsiteX3" fmla="*/ 69519 w 139038"/>
              <a:gd name="connsiteY3" fmla="*/ 0 h 139038"/>
              <a:gd name="connsiteX4" fmla="*/ 60082 w 139038"/>
              <a:gd name="connsiteY4" fmla="*/ 9437 h 139038"/>
              <a:gd name="connsiteX5" fmla="*/ 60082 w 139038"/>
              <a:gd name="connsiteY5" fmla="*/ 60082 h 139038"/>
              <a:gd name="connsiteX6" fmla="*/ 9437 w 139038"/>
              <a:gd name="connsiteY6" fmla="*/ 60082 h 139038"/>
              <a:gd name="connsiteX7" fmla="*/ 0 w 139038"/>
              <a:gd name="connsiteY7" fmla="*/ 69519 h 139038"/>
              <a:gd name="connsiteX8" fmla="*/ 9437 w 139038"/>
              <a:gd name="connsiteY8" fmla="*/ 78956 h 139038"/>
              <a:gd name="connsiteX9" fmla="*/ 60082 w 139038"/>
              <a:gd name="connsiteY9" fmla="*/ 78956 h 139038"/>
              <a:gd name="connsiteX10" fmla="*/ 60082 w 139038"/>
              <a:gd name="connsiteY10" fmla="*/ 129601 h 139038"/>
              <a:gd name="connsiteX11" fmla="*/ 69519 w 139038"/>
              <a:gd name="connsiteY11" fmla="*/ 139038 h 139038"/>
              <a:gd name="connsiteX12" fmla="*/ 78956 w 139038"/>
              <a:gd name="connsiteY12" fmla="*/ 129601 h 139038"/>
              <a:gd name="connsiteX13" fmla="*/ 78956 w 139038"/>
              <a:gd name="connsiteY13" fmla="*/ 78956 h 139038"/>
              <a:gd name="connsiteX14" fmla="*/ 129601 w 139038"/>
              <a:gd name="connsiteY14" fmla="*/ 78956 h 139038"/>
              <a:gd name="connsiteX15" fmla="*/ 139038 w 139038"/>
              <a:gd name="connsiteY15" fmla="*/ 69519 h 139038"/>
              <a:gd name="connsiteX16" fmla="*/ 129601 w 139038"/>
              <a:gd name="connsiteY16" fmla="*/ 60082 h 139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8" h="139038">
                <a:moveTo>
                  <a:pt x="129601" y="60082"/>
                </a:moveTo>
                <a:lnTo>
                  <a:pt x="78956" y="60082"/>
                </a:lnTo>
                <a:lnTo>
                  <a:pt x="78956" y="9437"/>
                </a:lnTo>
                <a:cubicBezTo>
                  <a:pt x="78956" y="4225"/>
                  <a:pt x="74731" y="0"/>
                  <a:pt x="69519" y="0"/>
                </a:cubicBezTo>
                <a:cubicBezTo>
                  <a:pt x="64307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7"/>
                  <a:pt x="0" y="69519"/>
                </a:cubicBezTo>
                <a:cubicBezTo>
                  <a:pt x="0" y="74731"/>
                  <a:pt x="4225" y="78956"/>
                  <a:pt x="9437" y="78956"/>
                </a:cubicBezTo>
                <a:lnTo>
                  <a:pt x="60082" y="78956"/>
                </a:lnTo>
                <a:lnTo>
                  <a:pt x="60082" y="129601"/>
                </a:lnTo>
                <a:cubicBezTo>
                  <a:pt x="60082" y="134813"/>
                  <a:pt x="64307" y="139038"/>
                  <a:pt x="69519" y="139038"/>
                </a:cubicBezTo>
                <a:cubicBezTo>
                  <a:pt x="74731" y="139038"/>
                  <a:pt x="78956" y="134813"/>
                  <a:pt x="78956" y="129601"/>
                </a:cubicBezTo>
                <a:lnTo>
                  <a:pt x="78956" y="78956"/>
                </a:lnTo>
                <a:lnTo>
                  <a:pt x="129601" y="78956"/>
                </a:lnTo>
                <a:cubicBezTo>
                  <a:pt x="134813" y="78956"/>
                  <a:pt x="139038" y="74731"/>
                  <a:pt x="139038" y="69519"/>
                </a:cubicBezTo>
                <a:cubicBezTo>
                  <a:pt x="139038" y="64307"/>
                  <a:pt x="134813" y="60082"/>
                  <a:pt x="129601" y="60082"/>
                </a:cubicBezTo>
                <a:close/>
              </a:path>
            </a:pathLst>
          </a:custGeom>
          <a:solidFill>
            <a:schemeClr val="bg1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23" name="Elemento grafico 15">
            <a:extLst>
              <a:ext uri="{FF2B5EF4-FFF2-40B4-BE49-F238E27FC236}">
                <a16:creationId xmlns:a16="http://schemas.microsoft.com/office/drawing/2014/main" id="{E5ABBDAD-943D-48F3-9C80-B29C48966C79}"/>
              </a:ext>
            </a:extLst>
          </p:cNvPr>
          <p:cNvSpPr/>
          <p:nvPr userDrawn="1"/>
        </p:nvSpPr>
        <p:spPr>
          <a:xfrm>
            <a:off x="7843462" y="3198265"/>
            <a:ext cx="127713" cy="127713"/>
          </a:xfrm>
          <a:custGeom>
            <a:avLst/>
            <a:gdLst>
              <a:gd name="connsiteX0" fmla="*/ 63857 w 127713"/>
              <a:gd name="connsiteY0" fmla="*/ 18874 h 127713"/>
              <a:gd name="connsiteX1" fmla="*/ 108839 w 127713"/>
              <a:gd name="connsiteY1" fmla="*/ 63857 h 127713"/>
              <a:gd name="connsiteX2" fmla="*/ 63857 w 127713"/>
              <a:gd name="connsiteY2" fmla="*/ 108839 h 127713"/>
              <a:gd name="connsiteX3" fmla="*/ 18874 w 127713"/>
              <a:gd name="connsiteY3" fmla="*/ 63857 h 127713"/>
              <a:gd name="connsiteX4" fmla="*/ 63857 w 127713"/>
              <a:gd name="connsiteY4" fmla="*/ 18874 h 127713"/>
              <a:gd name="connsiteX5" fmla="*/ 63857 w 127713"/>
              <a:gd name="connsiteY5" fmla="*/ 0 h 127713"/>
              <a:gd name="connsiteX6" fmla="*/ 0 w 127713"/>
              <a:gd name="connsiteY6" fmla="*/ 63857 h 127713"/>
              <a:gd name="connsiteX7" fmla="*/ 63857 w 127713"/>
              <a:gd name="connsiteY7" fmla="*/ 127713 h 127713"/>
              <a:gd name="connsiteX8" fmla="*/ 127713 w 127713"/>
              <a:gd name="connsiteY8" fmla="*/ 63857 h 127713"/>
              <a:gd name="connsiteX9" fmla="*/ 63857 w 127713"/>
              <a:gd name="connsiteY9" fmla="*/ 0 h 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3" h="127713">
                <a:moveTo>
                  <a:pt x="63857" y="18874"/>
                </a:moveTo>
                <a:cubicBezTo>
                  <a:pt x="88700" y="18874"/>
                  <a:pt x="108839" y="39013"/>
                  <a:pt x="108839" y="63857"/>
                </a:cubicBezTo>
                <a:cubicBezTo>
                  <a:pt x="108839" y="88700"/>
                  <a:pt x="88700" y="108839"/>
                  <a:pt x="63857" y="108839"/>
                </a:cubicBezTo>
                <a:cubicBezTo>
                  <a:pt x="39013" y="108839"/>
                  <a:pt x="18874" y="88700"/>
                  <a:pt x="18874" y="63857"/>
                </a:cubicBezTo>
                <a:cubicBezTo>
                  <a:pt x="18898" y="39023"/>
                  <a:pt x="39023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3"/>
                  <a:pt x="63857" y="127713"/>
                </a:cubicBezTo>
                <a:cubicBezTo>
                  <a:pt x="99124" y="127713"/>
                  <a:pt x="127713" y="99124"/>
                  <a:pt x="127713" y="63857"/>
                </a:cubicBezTo>
                <a:cubicBezTo>
                  <a:pt x="127713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bg1"/>
          </a:solidFill>
          <a:ln w="61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137906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egnaposto immagine 18">
            <a:extLst>
              <a:ext uri="{FF2B5EF4-FFF2-40B4-BE49-F238E27FC236}">
                <a16:creationId xmlns:a16="http://schemas.microsoft.com/office/drawing/2014/main" id="{34120D15-E48C-4FBE-BB95-24DB36D9F4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6432" y="2530058"/>
            <a:ext cx="3707972" cy="3707971"/>
          </a:xfrm>
          <a:custGeom>
            <a:avLst/>
            <a:gdLst>
              <a:gd name="connsiteX0" fmla="*/ 1853986 w 3707972"/>
              <a:gd name="connsiteY0" fmla="*/ 0 h 3707971"/>
              <a:gd name="connsiteX1" fmla="*/ 3707972 w 3707972"/>
              <a:gd name="connsiteY1" fmla="*/ 1853986 h 3707971"/>
              <a:gd name="connsiteX2" fmla="*/ 2043545 w 3707972"/>
              <a:gd name="connsiteY2" fmla="*/ 3698400 h 3707971"/>
              <a:gd name="connsiteX3" fmla="*/ 1854006 w 3707972"/>
              <a:gd name="connsiteY3" fmla="*/ 3707971 h 3707971"/>
              <a:gd name="connsiteX4" fmla="*/ 1853966 w 3707972"/>
              <a:gd name="connsiteY4" fmla="*/ 3707971 h 3707971"/>
              <a:gd name="connsiteX5" fmla="*/ 1664427 w 3707972"/>
              <a:gd name="connsiteY5" fmla="*/ 3698400 h 3707971"/>
              <a:gd name="connsiteX6" fmla="*/ 0 w 3707972"/>
              <a:gd name="connsiteY6" fmla="*/ 1853986 h 3707971"/>
              <a:gd name="connsiteX7" fmla="*/ 1853986 w 3707972"/>
              <a:gd name="connsiteY7" fmla="*/ 0 h 3707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07972" h="3707971">
                <a:moveTo>
                  <a:pt x="1853986" y="0"/>
                </a:moveTo>
                <a:cubicBezTo>
                  <a:pt x="2877914" y="0"/>
                  <a:pt x="3707972" y="830058"/>
                  <a:pt x="3707972" y="1853986"/>
                </a:cubicBezTo>
                <a:cubicBezTo>
                  <a:pt x="3707972" y="2813919"/>
                  <a:pt x="2978429" y="3603458"/>
                  <a:pt x="2043545" y="3698400"/>
                </a:cubicBezTo>
                <a:lnTo>
                  <a:pt x="1854006" y="3707971"/>
                </a:lnTo>
                <a:lnTo>
                  <a:pt x="1853966" y="3707971"/>
                </a:lnTo>
                <a:lnTo>
                  <a:pt x="1664427" y="3698400"/>
                </a:lnTo>
                <a:cubicBezTo>
                  <a:pt x="729543" y="3603458"/>
                  <a:pt x="0" y="2813919"/>
                  <a:pt x="0" y="1853986"/>
                </a:cubicBezTo>
                <a:cubicBezTo>
                  <a:pt x="0" y="830058"/>
                  <a:pt x="830058" y="0"/>
                  <a:pt x="1853986" y="0"/>
                </a:cubicBezTo>
                <a:close/>
              </a:path>
            </a:pathLst>
          </a:custGeom>
        </p:spPr>
        <p:txBody>
          <a:bodyPr wrap="square" rtlCol="0" anchor="ctr">
            <a:noAutofit/>
          </a:bodyPr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969F227-D21C-48B3-828A-6BFA9585E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2936" y="585216"/>
            <a:ext cx="5833872" cy="2276856"/>
          </a:xfrm>
        </p:spPr>
        <p:txBody>
          <a:bodyPr rtlCol="0" anchor="b"/>
          <a:lstStyle>
            <a:lvl1pPr algn="r">
              <a:defRPr sz="6000" b="1" cap="all" spc="40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Titolo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8DF1DFFF-E5C5-43DF-B71C-7270DB973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58368" y="201168"/>
            <a:ext cx="2743200" cy="365125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03/09/20XX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EBC03C0-6EB7-4633-967C-12C35768B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-548640" y="1938528"/>
            <a:ext cx="2788920" cy="365125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Titolo della presentazion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0FF4306-91CD-4B7B-8A53-34BE8F997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201168"/>
            <a:ext cx="2743200" cy="365125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fld id="{D8DA9DAA-006C-4F4B-980E-E3DF019B24E2}" type="slidenum">
              <a:rPr lang="it-IT" noProof="0" smtClean="0"/>
              <a:pPr/>
              <a:t>‹N›</a:t>
            </a:fld>
            <a:endParaRPr lang="it-IT" noProof="0"/>
          </a:p>
        </p:txBody>
      </p: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13AE7F8D-AE68-4A83-BAB5-3A97D473CE3C}"/>
              </a:ext>
            </a:extLst>
          </p:cNvPr>
          <p:cNvCxnSpPr>
            <a:cxnSpLocks/>
          </p:cNvCxnSpPr>
          <p:nvPr userDrawn="1"/>
        </p:nvCxnSpPr>
        <p:spPr>
          <a:xfrm>
            <a:off x="856114" y="3503032"/>
            <a:ext cx="0" cy="3346090"/>
          </a:xfrm>
          <a:prstGeom prst="line">
            <a:avLst/>
          </a:prstGeom>
          <a:ln w="25400" cap="sq">
            <a:solidFill>
              <a:schemeClr val="bg1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A928810C-E773-43AE-A2A1-4073955CC8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02936" y="3127248"/>
            <a:ext cx="5833872" cy="3118104"/>
          </a:xfrm>
        </p:spPr>
        <p:txBody>
          <a:bodyPr rtlCol="0"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1" name="Elemento grafico 12">
            <a:extLst>
              <a:ext uri="{FF2B5EF4-FFF2-40B4-BE49-F238E27FC236}">
                <a16:creationId xmlns:a16="http://schemas.microsoft.com/office/drawing/2014/main" id="{EA1B6985-3E5A-40F4-9268-D4AB3BBF8C91}"/>
              </a:ext>
            </a:extLst>
          </p:cNvPr>
          <p:cNvSpPr/>
          <p:nvPr userDrawn="1"/>
        </p:nvSpPr>
        <p:spPr>
          <a:xfrm>
            <a:off x="4745394" y="2760277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bg1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3" name="Elemento grafico 13">
            <a:extLst>
              <a:ext uri="{FF2B5EF4-FFF2-40B4-BE49-F238E27FC236}">
                <a16:creationId xmlns:a16="http://schemas.microsoft.com/office/drawing/2014/main" id="{338BC906-9D03-4280-85E8-21A81BC21D73}"/>
              </a:ext>
            </a:extLst>
          </p:cNvPr>
          <p:cNvSpPr/>
          <p:nvPr userDrawn="1"/>
        </p:nvSpPr>
        <p:spPr>
          <a:xfrm>
            <a:off x="4386614" y="2530982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bg1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7" name="Elemento grafico 15">
            <a:extLst>
              <a:ext uri="{FF2B5EF4-FFF2-40B4-BE49-F238E27FC236}">
                <a16:creationId xmlns:a16="http://schemas.microsoft.com/office/drawing/2014/main" id="{C5C06D53-C9F6-47E8-BFE1-B8193A1AED8B}"/>
              </a:ext>
            </a:extLst>
          </p:cNvPr>
          <p:cNvSpPr/>
          <p:nvPr userDrawn="1"/>
        </p:nvSpPr>
        <p:spPr>
          <a:xfrm>
            <a:off x="1669987" y="6031572"/>
            <a:ext cx="127714" cy="127714"/>
          </a:xfrm>
          <a:custGeom>
            <a:avLst/>
            <a:gdLst>
              <a:gd name="connsiteX0" fmla="*/ 63857 w 127714"/>
              <a:gd name="connsiteY0" fmla="*/ 18874 h 127714"/>
              <a:gd name="connsiteX1" fmla="*/ 108840 w 127714"/>
              <a:gd name="connsiteY1" fmla="*/ 63857 h 127714"/>
              <a:gd name="connsiteX2" fmla="*/ 63857 w 127714"/>
              <a:gd name="connsiteY2" fmla="*/ 108840 h 127714"/>
              <a:gd name="connsiteX3" fmla="*/ 18874 w 127714"/>
              <a:gd name="connsiteY3" fmla="*/ 63857 h 127714"/>
              <a:gd name="connsiteX4" fmla="*/ 63857 w 127714"/>
              <a:gd name="connsiteY4" fmla="*/ 18874 h 127714"/>
              <a:gd name="connsiteX5" fmla="*/ 63857 w 127714"/>
              <a:gd name="connsiteY5" fmla="*/ 0 h 127714"/>
              <a:gd name="connsiteX6" fmla="*/ 0 w 127714"/>
              <a:gd name="connsiteY6" fmla="*/ 63857 h 127714"/>
              <a:gd name="connsiteX7" fmla="*/ 63857 w 127714"/>
              <a:gd name="connsiteY7" fmla="*/ 127714 h 127714"/>
              <a:gd name="connsiteX8" fmla="*/ 127714 w 127714"/>
              <a:gd name="connsiteY8" fmla="*/ 63857 h 127714"/>
              <a:gd name="connsiteX9" fmla="*/ 63857 w 127714"/>
              <a:gd name="connsiteY9" fmla="*/ 0 h 12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4" h="127714">
                <a:moveTo>
                  <a:pt x="63857" y="18874"/>
                </a:moveTo>
                <a:cubicBezTo>
                  <a:pt x="88700" y="18874"/>
                  <a:pt x="108840" y="39014"/>
                  <a:pt x="108840" y="63857"/>
                </a:cubicBezTo>
                <a:cubicBezTo>
                  <a:pt x="108840" y="88700"/>
                  <a:pt x="88700" y="108840"/>
                  <a:pt x="63857" y="108840"/>
                </a:cubicBezTo>
                <a:cubicBezTo>
                  <a:pt x="39014" y="108840"/>
                  <a:pt x="18874" y="88700"/>
                  <a:pt x="18874" y="63857"/>
                </a:cubicBezTo>
                <a:cubicBezTo>
                  <a:pt x="18898" y="39024"/>
                  <a:pt x="39024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4"/>
                  <a:pt x="63857" y="127714"/>
                </a:cubicBezTo>
                <a:cubicBezTo>
                  <a:pt x="99124" y="127714"/>
                  <a:pt x="127714" y="99124"/>
                  <a:pt x="127714" y="63857"/>
                </a:cubicBezTo>
                <a:cubicBezTo>
                  <a:pt x="127714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bg1"/>
          </a:solidFill>
          <a:ln w="61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490768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>
            <a:extLst>
              <a:ext uri="{FF2B5EF4-FFF2-40B4-BE49-F238E27FC236}">
                <a16:creationId xmlns:a16="http://schemas.microsoft.com/office/drawing/2014/main" id="{E62FC6D8-DD87-4B93-8491-43C84EE63F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51965" y="1665520"/>
            <a:ext cx="4266960" cy="4266968"/>
          </a:xfrm>
          <a:custGeom>
            <a:avLst/>
            <a:gdLst>
              <a:gd name="connsiteX0" fmla="*/ 2133823 w 4266960"/>
              <a:gd name="connsiteY0" fmla="*/ 0 h 4266968"/>
              <a:gd name="connsiteX1" fmla="*/ 4256628 w 4266960"/>
              <a:gd name="connsiteY1" fmla="*/ 1915652 h 4266968"/>
              <a:gd name="connsiteX2" fmla="*/ 4266960 w 4266960"/>
              <a:gd name="connsiteY2" fmla="*/ 2120258 h 4266968"/>
              <a:gd name="connsiteX3" fmla="*/ 4266960 w 4266960"/>
              <a:gd name="connsiteY3" fmla="*/ 2147389 h 4266968"/>
              <a:gd name="connsiteX4" fmla="*/ 4256628 w 4266960"/>
              <a:gd name="connsiteY4" fmla="*/ 2351994 h 4266968"/>
              <a:gd name="connsiteX5" fmla="*/ 2351994 w 4266960"/>
              <a:gd name="connsiteY5" fmla="*/ 4256629 h 4266968"/>
              <a:gd name="connsiteX6" fmla="*/ 2147230 w 4266960"/>
              <a:gd name="connsiteY6" fmla="*/ 4266968 h 4266968"/>
              <a:gd name="connsiteX7" fmla="*/ 2120416 w 4266960"/>
              <a:gd name="connsiteY7" fmla="*/ 4266968 h 4266968"/>
              <a:gd name="connsiteX8" fmla="*/ 1915652 w 4266960"/>
              <a:gd name="connsiteY8" fmla="*/ 4256629 h 4266968"/>
              <a:gd name="connsiteX9" fmla="*/ 0 w 4266960"/>
              <a:gd name="connsiteY9" fmla="*/ 2133823 h 4266968"/>
              <a:gd name="connsiteX10" fmla="*/ 2133823 w 4266960"/>
              <a:gd name="connsiteY10" fmla="*/ 0 h 4266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66960" h="4266968">
                <a:moveTo>
                  <a:pt x="2133823" y="0"/>
                </a:moveTo>
                <a:cubicBezTo>
                  <a:pt x="3238644" y="0"/>
                  <a:pt x="4147355" y="839660"/>
                  <a:pt x="4256628" y="1915652"/>
                </a:cubicBezTo>
                <a:lnTo>
                  <a:pt x="4266960" y="2120258"/>
                </a:lnTo>
                <a:lnTo>
                  <a:pt x="4266960" y="2147389"/>
                </a:lnTo>
                <a:lnTo>
                  <a:pt x="4256628" y="2351994"/>
                </a:lnTo>
                <a:cubicBezTo>
                  <a:pt x="4154640" y="3356254"/>
                  <a:pt x="3356253" y="4154640"/>
                  <a:pt x="2351994" y="4256629"/>
                </a:cubicBezTo>
                <a:lnTo>
                  <a:pt x="2147230" y="4266968"/>
                </a:lnTo>
                <a:lnTo>
                  <a:pt x="2120416" y="4266968"/>
                </a:lnTo>
                <a:lnTo>
                  <a:pt x="1915652" y="4256629"/>
                </a:lnTo>
                <a:cubicBezTo>
                  <a:pt x="839660" y="4147356"/>
                  <a:pt x="0" y="3238645"/>
                  <a:pt x="0" y="2133823"/>
                </a:cubicBezTo>
                <a:cubicBezTo>
                  <a:pt x="0" y="955346"/>
                  <a:pt x="955346" y="0"/>
                  <a:pt x="2133823" y="0"/>
                </a:cubicBezTo>
                <a:close/>
              </a:path>
            </a:pathLst>
          </a:custGeom>
        </p:spPr>
        <p:txBody>
          <a:bodyPr wrap="square" rtlCol="0" anchor="ctr">
            <a:noAutofit/>
          </a:bodyPr>
          <a:lstStyle>
            <a:lvl1pPr algn="ctr">
              <a:buNone/>
              <a:defRPr/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9696CF8C-1EA0-4E47-AC60-CAC3B80A3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1335024"/>
            <a:ext cx="6190488" cy="1179576"/>
          </a:xfrm>
        </p:spPr>
        <p:txBody>
          <a:bodyPr lIns="91440" tIns="45720" rIns="91440" bIns="45720" rtlCol="0" anchor="b"/>
          <a:lstStyle>
            <a:lvl1pPr>
              <a:defRPr sz="5400"/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28CABF8-19D8-4F3C-994F-4D35EC7A2C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0392" y="2825496"/>
            <a:ext cx="6190488" cy="3346704"/>
          </a:xfrm>
        </p:spPr>
        <p:txBody>
          <a:bodyPr rtlCol="0"/>
          <a:lstStyle>
            <a:lvl1pPr marL="0" indent="0">
              <a:lnSpc>
                <a:spcPct val="110000"/>
              </a:lnSpc>
              <a:buNone/>
              <a:defRPr sz="2000"/>
            </a:lvl1pPr>
            <a:lvl2pPr marL="228600">
              <a:defRPr sz="1800"/>
            </a:lvl2pPr>
            <a:lvl3pPr marL="457200">
              <a:defRPr sz="1600"/>
            </a:lvl3pPr>
            <a:lvl4pPr marL="685800">
              <a:defRPr sz="1400"/>
            </a:lvl4pPr>
            <a:lvl5pPr>
              <a:defRPr sz="1400"/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097BB2D-4E2C-4490-A2A3-4B68BCC5D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it-IT" noProof="0"/>
              <a:t>03/09/20XX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40F15D-DD72-46D5-BF0F-F50647107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64424" y="621792"/>
            <a:ext cx="4114800" cy="365125"/>
          </a:xfrm>
        </p:spPr>
        <p:txBody>
          <a:bodyPr rtlCol="0"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pPr rtl="0"/>
            <a:r>
              <a:rPr lang="it-IT" noProof="0"/>
              <a:t>Titolo della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266FD4D-815A-431C-ADEF-DE6F236F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fld id="{D8DA9DAA-006C-4F4B-980E-E3DF019B24E2}" type="slidenum">
              <a:rPr lang="it-IT" noProof="0" smtClean="0"/>
              <a:pPr/>
              <a:t>‹N›</a:t>
            </a:fld>
            <a:endParaRPr lang="it-IT" noProof="0"/>
          </a:p>
        </p:txBody>
      </p: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FA8B3D0E-ED3F-46FA-AE79-5FEFDE9168E3}"/>
              </a:ext>
            </a:extLst>
          </p:cNvPr>
          <p:cNvCxnSpPr>
            <a:cxnSpLocks/>
          </p:cNvCxnSpPr>
          <p:nvPr userDrawn="1"/>
        </p:nvCxnSpPr>
        <p:spPr>
          <a:xfrm>
            <a:off x="0" y="806470"/>
            <a:ext cx="7903723" cy="0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08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emento grafico 10">
            <a:extLst>
              <a:ext uri="{FF2B5EF4-FFF2-40B4-BE49-F238E27FC236}">
                <a16:creationId xmlns:a16="http://schemas.microsoft.com/office/drawing/2014/main" id="{AAD06B87-D9B2-4F94-B734-A8F039A2033F}"/>
              </a:ext>
            </a:extLst>
          </p:cNvPr>
          <p:cNvSpPr/>
          <p:nvPr userDrawn="1"/>
        </p:nvSpPr>
        <p:spPr>
          <a:xfrm>
            <a:off x="11281590" y="2070656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2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9" name="Elemento grafico 11">
            <a:extLst>
              <a:ext uri="{FF2B5EF4-FFF2-40B4-BE49-F238E27FC236}">
                <a16:creationId xmlns:a16="http://schemas.microsoft.com/office/drawing/2014/main" id="{BB13A13C-36EA-4B13-9175-C5FE95B34D33}"/>
              </a:ext>
            </a:extLst>
          </p:cNvPr>
          <p:cNvSpPr/>
          <p:nvPr userDrawn="1"/>
        </p:nvSpPr>
        <p:spPr>
          <a:xfrm>
            <a:off x="10969280" y="1780012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accent2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897111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6640AAD-80AF-40E7-BE3F-43D32FC68E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63040"/>
            <a:ext cx="9144000" cy="2340864"/>
          </a:xfrm>
        </p:spPr>
        <p:txBody>
          <a:bodyPr rtlCol="0" anchor="b">
            <a:normAutofit/>
          </a:bodyPr>
          <a:lstStyle>
            <a:lvl1pPr algn="ctr">
              <a:defRPr sz="6000" b="1" i="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C80FBD9-0977-4B2B-9318-30774BB094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7048" y="3858768"/>
            <a:ext cx="9144000" cy="1325880"/>
          </a:xfrm>
        </p:spPr>
        <p:txBody>
          <a:bodyPr rtlCol="0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it-IT" noProof="0"/>
              <a:t>Fare clic per modificare lo stile del sottotitolo dello schema</a:t>
            </a:r>
          </a:p>
        </p:txBody>
      </p:sp>
      <p:sp>
        <p:nvSpPr>
          <p:cNvPr id="4" name="Elemento grafico 12">
            <a:extLst>
              <a:ext uri="{FF2B5EF4-FFF2-40B4-BE49-F238E27FC236}">
                <a16:creationId xmlns:a16="http://schemas.microsoft.com/office/drawing/2014/main" id="{8A41917E-4B97-447C-98AB-970D625F1DE6}"/>
              </a:ext>
            </a:extLst>
          </p:cNvPr>
          <p:cNvSpPr/>
          <p:nvPr userDrawn="1"/>
        </p:nvSpPr>
        <p:spPr>
          <a:xfrm>
            <a:off x="10772266" y="3054359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bg1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5" name="Elemento grafico 13">
            <a:extLst>
              <a:ext uri="{FF2B5EF4-FFF2-40B4-BE49-F238E27FC236}">
                <a16:creationId xmlns:a16="http://schemas.microsoft.com/office/drawing/2014/main" id="{3B3FD238-4561-4AF8-A1F1-185B0CAFE2AC}"/>
              </a:ext>
            </a:extLst>
          </p:cNvPr>
          <p:cNvSpPr/>
          <p:nvPr userDrawn="1"/>
        </p:nvSpPr>
        <p:spPr>
          <a:xfrm>
            <a:off x="10724364" y="2515838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bg1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6" name="Elemento grafico 15">
            <a:extLst>
              <a:ext uri="{FF2B5EF4-FFF2-40B4-BE49-F238E27FC236}">
                <a16:creationId xmlns:a16="http://schemas.microsoft.com/office/drawing/2014/main" id="{BAB9414C-AE69-4648-873E-9CE6B2DF8A71}"/>
              </a:ext>
            </a:extLst>
          </p:cNvPr>
          <p:cNvSpPr/>
          <p:nvPr userDrawn="1"/>
        </p:nvSpPr>
        <p:spPr>
          <a:xfrm>
            <a:off x="11024834" y="2787572"/>
            <a:ext cx="127714" cy="127714"/>
          </a:xfrm>
          <a:custGeom>
            <a:avLst/>
            <a:gdLst>
              <a:gd name="connsiteX0" fmla="*/ 63857 w 127714"/>
              <a:gd name="connsiteY0" fmla="*/ 18874 h 127714"/>
              <a:gd name="connsiteX1" fmla="*/ 108840 w 127714"/>
              <a:gd name="connsiteY1" fmla="*/ 63857 h 127714"/>
              <a:gd name="connsiteX2" fmla="*/ 63857 w 127714"/>
              <a:gd name="connsiteY2" fmla="*/ 108840 h 127714"/>
              <a:gd name="connsiteX3" fmla="*/ 18874 w 127714"/>
              <a:gd name="connsiteY3" fmla="*/ 63857 h 127714"/>
              <a:gd name="connsiteX4" fmla="*/ 63857 w 127714"/>
              <a:gd name="connsiteY4" fmla="*/ 18874 h 127714"/>
              <a:gd name="connsiteX5" fmla="*/ 63857 w 127714"/>
              <a:gd name="connsiteY5" fmla="*/ 0 h 127714"/>
              <a:gd name="connsiteX6" fmla="*/ 0 w 127714"/>
              <a:gd name="connsiteY6" fmla="*/ 63857 h 127714"/>
              <a:gd name="connsiteX7" fmla="*/ 63857 w 127714"/>
              <a:gd name="connsiteY7" fmla="*/ 127714 h 127714"/>
              <a:gd name="connsiteX8" fmla="*/ 127714 w 127714"/>
              <a:gd name="connsiteY8" fmla="*/ 63857 h 127714"/>
              <a:gd name="connsiteX9" fmla="*/ 63857 w 127714"/>
              <a:gd name="connsiteY9" fmla="*/ 0 h 12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4" h="127714">
                <a:moveTo>
                  <a:pt x="63857" y="18874"/>
                </a:moveTo>
                <a:cubicBezTo>
                  <a:pt x="88700" y="18874"/>
                  <a:pt x="108840" y="39014"/>
                  <a:pt x="108840" y="63857"/>
                </a:cubicBezTo>
                <a:cubicBezTo>
                  <a:pt x="108840" y="88700"/>
                  <a:pt x="88700" y="108840"/>
                  <a:pt x="63857" y="108840"/>
                </a:cubicBezTo>
                <a:cubicBezTo>
                  <a:pt x="39014" y="108840"/>
                  <a:pt x="18874" y="88700"/>
                  <a:pt x="18874" y="63857"/>
                </a:cubicBezTo>
                <a:cubicBezTo>
                  <a:pt x="18898" y="39024"/>
                  <a:pt x="39024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4"/>
                  <a:pt x="63857" y="127714"/>
                </a:cubicBezTo>
                <a:cubicBezTo>
                  <a:pt x="99124" y="127714"/>
                  <a:pt x="127714" y="99124"/>
                  <a:pt x="127714" y="63857"/>
                </a:cubicBezTo>
                <a:cubicBezTo>
                  <a:pt x="127714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bg1"/>
          </a:solidFill>
          <a:ln w="61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7" name="Elemento grafico 22">
            <a:extLst>
              <a:ext uri="{FF2B5EF4-FFF2-40B4-BE49-F238E27FC236}">
                <a16:creationId xmlns:a16="http://schemas.microsoft.com/office/drawing/2014/main" id="{3BF75235-4E6E-4184-82A5-EE6FE7993BBC}"/>
              </a:ext>
            </a:extLst>
          </p:cNvPr>
          <p:cNvSpPr/>
          <p:nvPr userDrawn="1"/>
        </p:nvSpPr>
        <p:spPr>
          <a:xfrm>
            <a:off x="1261869" y="2633448"/>
            <a:ext cx="151536" cy="151536"/>
          </a:xfrm>
          <a:custGeom>
            <a:avLst/>
            <a:gdLst>
              <a:gd name="connsiteX0" fmla="*/ 141251 w 151536"/>
              <a:gd name="connsiteY0" fmla="*/ 65483 h 151536"/>
              <a:gd name="connsiteX1" fmla="*/ 86053 w 151536"/>
              <a:gd name="connsiteY1" fmla="*/ 65483 h 151536"/>
              <a:gd name="connsiteX2" fmla="*/ 86053 w 151536"/>
              <a:gd name="connsiteY2" fmla="*/ 10285 h 151536"/>
              <a:gd name="connsiteX3" fmla="*/ 75768 w 151536"/>
              <a:gd name="connsiteY3" fmla="*/ 0 h 151536"/>
              <a:gd name="connsiteX4" fmla="*/ 65483 w 151536"/>
              <a:gd name="connsiteY4" fmla="*/ 10285 h 151536"/>
              <a:gd name="connsiteX5" fmla="*/ 65483 w 151536"/>
              <a:gd name="connsiteY5" fmla="*/ 65483 h 151536"/>
              <a:gd name="connsiteX6" fmla="*/ 10285 w 151536"/>
              <a:gd name="connsiteY6" fmla="*/ 65483 h 151536"/>
              <a:gd name="connsiteX7" fmla="*/ 0 w 151536"/>
              <a:gd name="connsiteY7" fmla="*/ 75768 h 151536"/>
              <a:gd name="connsiteX8" fmla="*/ 10285 w 151536"/>
              <a:gd name="connsiteY8" fmla="*/ 86053 h 151536"/>
              <a:gd name="connsiteX9" fmla="*/ 65483 w 151536"/>
              <a:gd name="connsiteY9" fmla="*/ 86053 h 151536"/>
              <a:gd name="connsiteX10" fmla="*/ 65483 w 151536"/>
              <a:gd name="connsiteY10" fmla="*/ 141251 h 151536"/>
              <a:gd name="connsiteX11" fmla="*/ 75768 w 151536"/>
              <a:gd name="connsiteY11" fmla="*/ 151536 h 151536"/>
              <a:gd name="connsiteX12" fmla="*/ 86053 w 151536"/>
              <a:gd name="connsiteY12" fmla="*/ 141251 h 151536"/>
              <a:gd name="connsiteX13" fmla="*/ 86053 w 151536"/>
              <a:gd name="connsiteY13" fmla="*/ 86053 h 151536"/>
              <a:gd name="connsiteX14" fmla="*/ 141251 w 151536"/>
              <a:gd name="connsiteY14" fmla="*/ 86053 h 151536"/>
              <a:gd name="connsiteX15" fmla="*/ 151536 w 151536"/>
              <a:gd name="connsiteY15" fmla="*/ 75768 h 151536"/>
              <a:gd name="connsiteX16" fmla="*/ 141251 w 151536"/>
              <a:gd name="connsiteY16" fmla="*/ 65483 h 15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36" h="151536">
                <a:moveTo>
                  <a:pt x="141251" y="65483"/>
                </a:moveTo>
                <a:lnTo>
                  <a:pt x="86053" y="65483"/>
                </a:lnTo>
                <a:lnTo>
                  <a:pt x="86053" y="10285"/>
                </a:lnTo>
                <a:cubicBezTo>
                  <a:pt x="86053" y="4605"/>
                  <a:pt x="81448" y="0"/>
                  <a:pt x="75768" y="0"/>
                </a:cubicBezTo>
                <a:cubicBezTo>
                  <a:pt x="70088" y="0"/>
                  <a:pt x="65483" y="4605"/>
                  <a:pt x="65483" y="10285"/>
                </a:cubicBezTo>
                <a:lnTo>
                  <a:pt x="65483" y="65483"/>
                </a:lnTo>
                <a:lnTo>
                  <a:pt x="10285" y="65483"/>
                </a:lnTo>
                <a:cubicBezTo>
                  <a:pt x="4605" y="65483"/>
                  <a:pt x="0" y="70088"/>
                  <a:pt x="0" y="75768"/>
                </a:cubicBezTo>
                <a:cubicBezTo>
                  <a:pt x="0" y="81448"/>
                  <a:pt x="4605" y="86053"/>
                  <a:pt x="10285" y="86053"/>
                </a:cubicBezTo>
                <a:lnTo>
                  <a:pt x="65483" y="86053"/>
                </a:lnTo>
                <a:lnTo>
                  <a:pt x="65483" y="141251"/>
                </a:lnTo>
                <a:cubicBezTo>
                  <a:pt x="65483" y="146931"/>
                  <a:pt x="70088" y="151536"/>
                  <a:pt x="75768" y="151536"/>
                </a:cubicBezTo>
                <a:cubicBezTo>
                  <a:pt x="81448" y="151536"/>
                  <a:pt x="86053" y="146931"/>
                  <a:pt x="86053" y="141251"/>
                </a:cubicBezTo>
                <a:lnTo>
                  <a:pt x="86053" y="86053"/>
                </a:lnTo>
                <a:lnTo>
                  <a:pt x="141251" y="86053"/>
                </a:lnTo>
                <a:cubicBezTo>
                  <a:pt x="146931" y="86053"/>
                  <a:pt x="151536" y="81448"/>
                  <a:pt x="151536" y="75768"/>
                </a:cubicBezTo>
                <a:cubicBezTo>
                  <a:pt x="151536" y="70088"/>
                  <a:pt x="146931" y="65483"/>
                  <a:pt x="141251" y="65483"/>
                </a:cubicBezTo>
                <a:close/>
              </a:path>
            </a:pathLst>
          </a:custGeom>
          <a:solidFill>
            <a:schemeClr val="bg1"/>
          </a:solidFill>
          <a:ln w="64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1" name="Elemento grafico 21">
            <a:extLst>
              <a:ext uri="{FF2B5EF4-FFF2-40B4-BE49-F238E27FC236}">
                <a16:creationId xmlns:a16="http://schemas.microsoft.com/office/drawing/2014/main" id="{E66FE37C-2F4B-42DA-BFF6-92DD00BDC49B}"/>
              </a:ext>
            </a:extLst>
          </p:cNvPr>
          <p:cNvSpPr/>
          <p:nvPr userDrawn="1"/>
        </p:nvSpPr>
        <p:spPr>
          <a:xfrm>
            <a:off x="1064053" y="3083338"/>
            <a:ext cx="95759" cy="95759"/>
          </a:xfrm>
          <a:custGeom>
            <a:avLst/>
            <a:gdLst>
              <a:gd name="connsiteX0" fmla="*/ 95759 w 95759"/>
              <a:gd name="connsiteY0" fmla="*/ 47880 h 95759"/>
              <a:gd name="connsiteX1" fmla="*/ 47880 w 95759"/>
              <a:gd name="connsiteY1" fmla="*/ 95759 h 95759"/>
              <a:gd name="connsiteX2" fmla="*/ 0 w 95759"/>
              <a:gd name="connsiteY2" fmla="*/ 47880 h 95759"/>
              <a:gd name="connsiteX3" fmla="*/ 47880 w 95759"/>
              <a:gd name="connsiteY3" fmla="*/ 0 h 95759"/>
              <a:gd name="connsiteX4" fmla="*/ 95759 w 95759"/>
              <a:gd name="connsiteY4" fmla="*/ 47880 h 9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759" h="95759">
                <a:moveTo>
                  <a:pt x="95759" y="47880"/>
                </a:moveTo>
                <a:cubicBezTo>
                  <a:pt x="95759" y="74323"/>
                  <a:pt x="74323" y="95759"/>
                  <a:pt x="47880" y="95759"/>
                </a:cubicBezTo>
                <a:cubicBezTo>
                  <a:pt x="21436" y="95759"/>
                  <a:pt x="0" y="74323"/>
                  <a:pt x="0" y="47880"/>
                </a:cubicBezTo>
                <a:cubicBezTo>
                  <a:pt x="0" y="21436"/>
                  <a:pt x="21436" y="0"/>
                  <a:pt x="47880" y="0"/>
                </a:cubicBezTo>
                <a:cubicBezTo>
                  <a:pt x="74323" y="0"/>
                  <a:pt x="95759" y="21436"/>
                  <a:pt x="95759" y="47880"/>
                </a:cubicBezTo>
                <a:close/>
              </a:path>
            </a:pathLst>
          </a:custGeom>
          <a:solidFill>
            <a:schemeClr val="bg1"/>
          </a:solidFill>
          <a:ln w="469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3" name="Elemento grafico 23">
            <a:extLst>
              <a:ext uri="{FF2B5EF4-FFF2-40B4-BE49-F238E27FC236}">
                <a16:creationId xmlns:a16="http://schemas.microsoft.com/office/drawing/2014/main" id="{DDD38822-731A-48DA-A8A0-FBBAF7A6D65D}"/>
              </a:ext>
            </a:extLst>
          </p:cNvPr>
          <p:cNvSpPr/>
          <p:nvPr userDrawn="1"/>
        </p:nvSpPr>
        <p:spPr>
          <a:xfrm>
            <a:off x="1413405" y="3492870"/>
            <a:ext cx="108625" cy="108625"/>
          </a:xfrm>
          <a:custGeom>
            <a:avLst/>
            <a:gdLst>
              <a:gd name="connsiteX0" fmla="*/ 54313 w 108625"/>
              <a:gd name="connsiteY0" fmla="*/ 16053 h 108625"/>
              <a:gd name="connsiteX1" fmla="*/ 92572 w 108625"/>
              <a:gd name="connsiteY1" fmla="*/ 54313 h 108625"/>
              <a:gd name="connsiteX2" fmla="*/ 54313 w 108625"/>
              <a:gd name="connsiteY2" fmla="*/ 92572 h 108625"/>
              <a:gd name="connsiteX3" fmla="*/ 16053 w 108625"/>
              <a:gd name="connsiteY3" fmla="*/ 54313 h 108625"/>
              <a:gd name="connsiteX4" fmla="*/ 54313 w 108625"/>
              <a:gd name="connsiteY4" fmla="*/ 16053 h 108625"/>
              <a:gd name="connsiteX5" fmla="*/ 54313 w 108625"/>
              <a:gd name="connsiteY5" fmla="*/ 0 h 108625"/>
              <a:gd name="connsiteX6" fmla="*/ 0 w 108625"/>
              <a:gd name="connsiteY6" fmla="*/ 54313 h 108625"/>
              <a:gd name="connsiteX7" fmla="*/ 54313 w 108625"/>
              <a:gd name="connsiteY7" fmla="*/ 108625 h 108625"/>
              <a:gd name="connsiteX8" fmla="*/ 108625 w 108625"/>
              <a:gd name="connsiteY8" fmla="*/ 54313 h 108625"/>
              <a:gd name="connsiteX9" fmla="*/ 54313 w 108625"/>
              <a:gd name="connsiteY9" fmla="*/ 0 h 10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8625" h="108625">
                <a:moveTo>
                  <a:pt x="54313" y="16053"/>
                </a:moveTo>
                <a:cubicBezTo>
                  <a:pt x="75442" y="16053"/>
                  <a:pt x="92572" y="33182"/>
                  <a:pt x="92572" y="54313"/>
                </a:cubicBezTo>
                <a:cubicBezTo>
                  <a:pt x="92572" y="75442"/>
                  <a:pt x="75442" y="92572"/>
                  <a:pt x="54313" y="92572"/>
                </a:cubicBezTo>
                <a:cubicBezTo>
                  <a:pt x="33182" y="92572"/>
                  <a:pt x="16053" y="75442"/>
                  <a:pt x="16053" y="54313"/>
                </a:cubicBezTo>
                <a:cubicBezTo>
                  <a:pt x="16074" y="33191"/>
                  <a:pt x="33191" y="16074"/>
                  <a:pt x="54313" y="16053"/>
                </a:cubicBezTo>
                <a:moveTo>
                  <a:pt x="54313" y="0"/>
                </a:moveTo>
                <a:cubicBezTo>
                  <a:pt x="24317" y="0"/>
                  <a:pt x="0" y="24317"/>
                  <a:pt x="0" y="54313"/>
                </a:cubicBezTo>
                <a:cubicBezTo>
                  <a:pt x="0" y="84309"/>
                  <a:pt x="24317" y="108625"/>
                  <a:pt x="54313" y="108625"/>
                </a:cubicBezTo>
                <a:cubicBezTo>
                  <a:pt x="84309" y="108625"/>
                  <a:pt x="108625" y="84309"/>
                  <a:pt x="108625" y="54313"/>
                </a:cubicBezTo>
                <a:cubicBezTo>
                  <a:pt x="108625" y="24317"/>
                  <a:pt x="84309" y="0"/>
                  <a:pt x="54313" y="0"/>
                </a:cubicBezTo>
                <a:close/>
              </a:path>
            </a:pathLst>
          </a:custGeom>
          <a:solidFill>
            <a:schemeClr val="bg1"/>
          </a:solidFill>
          <a:ln w="51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442482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696CF8C-1EA0-4E47-AC60-CAC3B80A3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sz="5400"/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28CABF8-19D8-4F3C-994F-4D35EC7A2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266FD4D-815A-431C-ADEF-DE6F236F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D8DA9DAA-006C-4F4B-980E-E3DF019B24E2}" type="slidenum">
              <a:rPr lang="it-IT" noProof="0" smtClean="0"/>
              <a:t>‹N›</a:t>
            </a:fld>
            <a:endParaRPr lang="it-IT" noProof="0"/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5C05CAAB-DBA2-4548-AD5F-01BB97FBB207}"/>
              </a:ext>
            </a:extLst>
          </p:cNvPr>
          <p:cNvCxnSpPr>
            <a:cxnSpLocks/>
          </p:cNvCxnSpPr>
          <p:nvPr/>
        </p:nvCxnSpPr>
        <p:spPr>
          <a:xfrm>
            <a:off x="715890" y="356812"/>
            <a:ext cx="0" cy="6492875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1745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6640AAD-80AF-40E7-BE3F-43D32FC68E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91656" y="841248"/>
            <a:ext cx="4434840" cy="3236976"/>
          </a:xfrm>
        </p:spPr>
        <p:txBody>
          <a:bodyPr rtlCol="0" anchor="b"/>
          <a:lstStyle>
            <a:lvl1pPr algn="l">
              <a:lnSpc>
                <a:spcPct val="110000"/>
              </a:lnSpc>
              <a:spcBef>
                <a:spcPts val="1000"/>
              </a:spcBef>
              <a:defRPr sz="3600" b="0" i="0" cap="none" baseline="0"/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C80FBD9-0977-4B2B-9318-30774BB094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91655" y="4498848"/>
            <a:ext cx="4434835" cy="510474"/>
          </a:xfrm>
        </p:spPr>
        <p:txBody>
          <a:bodyPr rtlCol="0"/>
          <a:lstStyle>
            <a:lvl1pPr marL="0" indent="0" algn="l">
              <a:lnSpc>
                <a:spcPct val="110000"/>
              </a:lnSpc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it-IT" noProof="0"/>
              <a:t>Fare clic per modificare lo stile del sottotitolo dello schema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F8C2A2A-62DB-40C0-8AE7-CB9B98649B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11512" y="1591056"/>
            <a:ext cx="3547872" cy="365125"/>
          </a:xfrm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it-IT" noProof="0"/>
              <a:t>Titolo della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01EAA4-F44C-4C1F-B8E3-1A3005300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fld id="{D8DA9DAA-006C-4F4B-980E-E3DF019B24E2}" type="slidenum">
              <a:rPr lang="it-IT" noProof="0" smtClean="0"/>
              <a:pPr/>
              <a:t>‹N›</a:t>
            </a:fld>
            <a:endParaRPr lang="it-IT" noProof="0"/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6939C974-0ED4-4915-BBF7-1FB00C18AD45}"/>
              </a:ext>
            </a:extLst>
          </p:cNvPr>
          <p:cNvCxnSpPr>
            <a:cxnSpLocks/>
          </p:cNvCxnSpPr>
          <p:nvPr userDrawn="1"/>
        </p:nvCxnSpPr>
        <p:spPr>
          <a:xfrm>
            <a:off x="11586162" y="3619272"/>
            <a:ext cx="0" cy="3238728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tangolo 8">
            <a:extLst>
              <a:ext uri="{FF2B5EF4-FFF2-40B4-BE49-F238E27FC236}">
                <a16:creationId xmlns:a16="http://schemas.microsoft.com/office/drawing/2014/main" id="{515930B2-E36D-4D05-A6B3-CA1BF61D50CC}"/>
              </a:ext>
            </a:extLst>
          </p:cNvPr>
          <p:cNvSpPr/>
          <p:nvPr userDrawn="1"/>
        </p:nvSpPr>
        <p:spPr>
          <a:xfrm>
            <a:off x="0" y="0"/>
            <a:ext cx="5779911" cy="6858000"/>
          </a:xfrm>
          <a:prstGeom prst="rect">
            <a:avLst/>
          </a:prstGeom>
          <a:gradFill flip="none" rotWithShape="1">
            <a:gsLst>
              <a:gs pos="100000">
                <a:schemeClr val="accent4"/>
              </a:gs>
              <a:gs pos="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13" name="Segnaposto immagine 12">
            <a:extLst>
              <a:ext uri="{FF2B5EF4-FFF2-40B4-BE49-F238E27FC236}">
                <a16:creationId xmlns:a16="http://schemas.microsoft.com/office/drawing/2014/main" id="{9CEC7E0F-60E8-418B-978D-C607C82E97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83464" y="301752"/>
            <a:ext cx="5221224" cy="6263640"/>
          </a:xfrm>
        </p:spPr>
        <p:txBody>
          <a:bodyPr rtlCol="0" anchor="ctr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1299048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696CF8C-1EA0-4E47-AC60-CAC3B80A3C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72" y="365125"/>
            <a:ext cx="10771632" cy="1325563"/>
          </a:xfrm>
        </p:spPr>
        <p:txBody>
          <a:bodyPr rtlCol="0"/>
          <a:lstStyle>
            <a:lvl1pPr>
              <a:defRPr sz="5400" b="1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Titolo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28CABF8-19D8-4F3C-994F-4D35EC7A2C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72" y="1825625"/>
            <a:ext cx="10771632" cy="435133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097BB2D-4E2C-4490-A2A3-4B68BCC5D2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58368" y="6356350"/>
            <a:ext cx="2743200" cy="365125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03/09/20XX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40F15D-DD72-46D5-BF0F-F50647107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03920" y="841248"/>
            <a:ext cx="3630168" cy="365125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-IT" noProof="0"/>
              <a:t>Titolo della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266FD4D-815A-431C-ADEF-DE6F236F61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fld id="{D8DA9DAA-006C-4F4B-980E-E3DF019B24E2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Elemento grafico 22">
            <a:extLst>
              <a:ext uri="{FF2B5EF4-FFF2-40B4-BE49-F238E27FC236}">
                <a16:creationId xmlns:a16="http://schemas.microsoft.com/office/drawing/2014/main" id="{4EADA2ED-8A8C-4D17-8798-F26BF3B4CE25}"/>
              </a:ext>
            </a:extLst>
          </p:cNvPr>
          <p:cNvSpPr/>
          <p:nvPr userDrawn="1"/>
        </p:nvSpPr>
        <p:spPr>
          <a:xfrm>
            <a:off x="11202264" y="344083"/>
            <a:ext cx="151536" cy="151536"/>
          </a:xfrm>
          <a:custGeom>
            <a:avLst/>
            <a:gdLst>
              <a:gd name="connsiteX0" fmla="*/ 141251 w 151536"/>
              <a:gd name="connsiteY0" fmla="*/ 65483 h 151536"/>
              <a:gd name="connsiteX1" fmla="*/ 86053 w 151536"/>
              <a:gd name="connsiteY1" fmla="*/ 65483 h 151536"/>
              <a:gd name="connsiteX2" fmla="*/ 86053 w 151536"/>
              <a:gd name="connsiteY2" fmla="*/ 10285 h 151536"/>
              <a:gd name="connsiteX3" fmla="*/ 75768 w 151536"/>
              <a:gd name="connsiteY3" fmla="*/ 0 h 151536"/>
              <a:gd name="connsiteX4" fmla="*/ 65483 w 151536"/>
              <a:gd name="connsiteY4" fmla="*/ 10285 h 151536"/>
              <a:gd name="connsiteX5" fmla="*/ 65483 w 151536"/>
              <a:gd name="connsiteY5" fmla="*/ 65483 h 151536"/>
              <a:gd name="connsiteX6" fmla="*/ 10285 w 151536"/>
              <a:gd name="connsiteY6" fmla="*/ 65483 h 151536"/>
              <a:gd name="connsiteX7" fmla="*/ 0 w 151536"/>
              <a:gd name="connsiteY7" fmla="*/ 75768 h 151536"/>
              <a:gd name="connsiteX8" fmla="*/ 10285 w 151536"/>
              <a:gd name="connsiteY8" fmla="*/ 86053 h 151536"/>
              <a:gd name="connsiteX9" fmla="*/ 65483 w 151536"/>
              <a:gd name="connsiteY9" fmla="*/ 86053 h 151536"/>
              <a:gd name="connsiteX10" fmla="*/ 65483 w 151536"/>
              <a:gd name="connsiteY10" fmla="*/ 141251 h 151536"/>
              <a:gd name="connsiteX11" fmla="*/ 75768 w 151536"/>
              <a:gd name="connsiteY11" fmla="*/ 151536 h 151536"/>
              <a:gd name="connsiteX12" fmla="*/ 86053 w 151536"/>
              <a:gd name="connsiteY12" fmla="*/ 141251 h 151536"/>
              <a:gd name="connsiteX13" fmla="*/ 86053 w 151536"/>
              <a:gd name="connsiteY13" fmla="*/ 86053 h 151536"/>
              <a:gd name="connsiteX14" fmla="*/ 141251 w 151536"/>
              <a:gd name="connsiteY14" fmla="*/ 86053 h 151536"/>
              <a:gd name="connsiteX15" fmla="*/ 151536 w 151536"/>
              <a:gd name="connsiteY15" fmla="*/ 75768 h 151536"/>
              <a:gd name="connsiteX16" fmla="*/ 141251 w 151536"/>
              <a:gd name="connsiteY16" fmla="*/ 65483 h 15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36" h="151536">
                <a:moveTo>
                  <a:pt x="141251" y="65483"/>
                </a:moveTo>
                <a:lnTo>
                  <a:pt x="86053" y="65483"/>
                </a:lnTo>
                <a:lnTo>
                  <a:pt x="86053" y="10285"/>
                </a:lnTo>
                <a:cubicBezTo>
                  <a:pt x="86053" y="4605"/>
                  <a:pt x="81448" y="0"/>
                  <a:pt x="75768" y="0"/>
                </a:cubicBezTo>
                <a:cubicBezTo>
                  <a:pt x="70088" y="0"/>
                  <a:pt x="65483" y="4605"/>
                  <a:pt x="65483" y="10285"/>
                </a:cubicBezTo>
                <a:lnTo>
                  <a:pt x="65483" y="65483"/>
                </a:lnTo>
                <a:lnTo>
                  <a:pt x="10285" y="65483"/>
                </a:lnTo>
                <a:cubicBezTo>
                  <a:pt x="4605" y="65483"/>
                  <a:pt x="0" y="70088"/>
                  <a:pt x="0" y="75768"/>
                </a:cubicBezTo>
                <a:cubicBezTo>
                  <a:pt x="0" y="81448"/>
                  <a:pt x="4605" y="86053"/>
                  <a:pt x="10285" y="86053"/>
                </a:cubicBezTo>
                <a:lnTo>
                  <a:pt x="65483" y="86053"/>
                </a:lnTo>
                <a:lnTo>
                  <a:pt x="65483" y="141251"/>
                </a:lnTo>
                <a:cubicBezTo>
                  <a:pt x="65483" y="146931"/>
                  <a:pt x="70088" y="151536"/>
                  <a:pt x="75768" y="151536"/>
                </a:cubicBezTo>
                <a:cubicBezTo>
                  <a:pt x="81448" y="151536"/>
                  <a:pt x="86053" y="146931"/>
                  <a:pt x="86053" y="141251"/>
                </a:cubicBezTo>
                <a:lnTo>
                  <a:pt x="86053" y="86053"/>
                </a:lnTo>
                <a:lnTo>
                  <a:pt x="141251" y="86053"/>
                </a:lnTo>
                <a:cubicBezTo>
                  <a:pt x="146931" y="86053"/>
                  <a:pt x="151536" y="81448"/>
                  <a:pt x="151536" y="75768"/>
                </a:cubicBezTo>
                <a:cubicBezTo>
                  <a:pt x="151536" y="70088"/>
                  <a:pt x="146931" y="65483"/>
                  <a:pt x="141251" y="65483"/>
                </a:cubicBezTo>
                <a:close/>
              </a:path>
            </a:pathLst>
          </a:custGeom>
          <a:solidFill>
            <a:schemeClr val="bg1"/>
          </a:solidFill>
          <a:ln w="64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1" name="Elemento grafico 23">
            <a:extLst>
              <a:ext uri="{FF2B5EF4-FFF2-40B4-BE49-F238E27FC236}">
                <a16:creationId xmlns:a16="http://schemas.microsoft.com/office/drawing/2014/main" id="{54AB3A25-6605-4446-9E53-ACEECD25E27B}"/>
              </a:ext>
            </a:extLst>
          </p:cNvPr>
          <p:cNvSpPr/>
          <p:nvPr userDrawn="1"/>
        </p:nvSpPr>
        <p:spPr>
          <a:xfrm>
            <a:off x="11563141" y="590910"/>
            <a:ext cx="108625" cy="108625"/>
          </a:xfrm>
          <a:custGeom>
            <a:avLst/>
            <a:gdLst>
              <a:gd name="connsiteX0" fmla="*/ 54313 w 108625"/>
              <a:gd name="connsiteY0" fmla="*/ 16053 h 108625"/>
              <a:gd name="connsiteX1" fmla="*/ 92572 w 108625"/>
              <a:gd name="connsiteY1" fmla="*/ 54313 h 108625"/>
              <a:gd name="connsiteX2" fmla="*/ 54313 w 108625"/>
              <a:gd name="connsiteY2" fmla="*/ 92572 h 108625"/>
              <a:gd name="connsiteX3" fmla="*/ 16053 w 108625"/>
              <a:gd name="connsiteY3" fmla="*/ 54313 h 108625"/>
              <a:gd name="connsiteX4" fmla="*/ 54313 w 108625"/>
              <a:gd name="connsiteY4" fmla="*/ 16053 h 108625"/>
              <a:gd name="connsiteX5" fmla="*/ 54313 w 108625"/>
              <a:gd name="connsiteY5" fmla="*/ 0 h 108625"/>
              <a:gd name="connsiteX6" fmla="*/ 0 w 108625"/>
              <a:gd name="connsiteY6" fmla="*/ 54313 h 108625"/>
              <a:gd name="connsiteX7" fmla="*/ 54313 w 108625"/>
              <a:gd name="connsiteY7" fmla="*/ 108625 h 108625"/>
              <a:gd name="connsiteX8" fmla="*/ 108625 w 108625"/>
              <a:gd name="connsiteY8" fmla="*/ 54313 h 108625"/>
              <a:gd name="connsiteX9" fmla="*/ 54313 w 108625"/>
              <a:gd name="connsiteY9" fmla="*/ 0 h 10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8625" h="108625">
                <a:moveTo>
                  <a:pt x="54313" y="16053"/>
                </a:moveTo>
                <a:cubicBezTo>
                  <a:pt x="75442" y="16053"/>
                  <a:pt x="92572" y="33182"/>
                  <a:pt x="92572" y="54313"/>
                </a:cubicBezTo>
                <a:cubicBezTo>
                  <a:pt x="92572" y="75442"/>
                  <a:pt x="75442" y="92572"/>
                  <a:pt x="54313" y="92572"/>
                </a:cubicBezTo>
                <a:cubicBezTo>
                  <a:pt x="33182" y="92572"/>
                  <a:pt x="16053" y="75442"/>
                  <a:pt x="16053" y="54313"/>
                </a:cubicBezTo>
                <a:cubicBezTo>
                  <a:pt x="16074" y="33191"/>
                  <a:pt x="33191" y="16074"/>
                  <a:pt x="54313" y="16053"/>
                </a:cubicBezTo>
                <a:moveTo>
                  <a:pt x="54313" y="0"/>
                </a:moveTo>
                <a:cubicBezTo>
                  <a:pt x="24317" y="0"/>
                  <a:pt x="0" y="24317"/>
                  <a:pt x="0" y="54313"/>
                </a:cubicBezTo>
                <a:cubicBezTo>
                  <a:pt x="0" y="84309"/>
                  <a:pt x="24317" y="108625"/>
                  <a:pt x="54313" y="108625"/>
                </a:cubicBezTo>
                <a:cubicBezTo>
                  <a:pt x="84309" y="108625"/>
                  <a:pt x="108625" y="84309"/>
                  <a:pt x="108625" y="54313"/>
                </a:cubicBezTo>
                <a:cubicBezTo>
                  <a:pt x="108625" y="24317"/>
                  <a:pt x="84309" y="0"/>
                  <a:pt x="54313" y="0"/>
                </a:cubicBezTo>
                <a:close/>
              </a:path>
            </a:pathLst>
          </a:custGeom>
          <a:solidFill>
            <a:schemeClr val="bg1"/>
          </a:solidFill>
          <a:ln w="51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22263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9257166-6921-4546-BA2C-99E464681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95B9122-6371-4049-B57A-33DED7DA2F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44752" y="1825625"/>
            <a:ext cx="4553712" cy="4351338"/>
          </a:xfrm>
        </p:spPr>
        <p:txBody>
          <a:bodyPr rtlCol="0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A14555D-0753-4312-A26B-2338813F9B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84848" y="1825625"/>
            <a:ext cx="4553712" cy="4351338"/>
          </a:xfrm>
        </p:spPr>
        <p:txBody>
          <a:bodyPr rtlCol="0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3FB7E8F4-3FB3-45AB-A381-9093CA95AAEE}"/>
              </a:ext>
            </a:extLst>
          </p:cNvPr>
          <p:cNvCxnSpPr>
            <a:cxnSpLocks/>
          </p:cNvCxnSpPr>
          <p:nvPr/>
        </p:nvCxnSpPr>
        <p:spPr>
          <a:xfrm>
            <a:off x="715890" y="356812"/>
            <a:ext cx="0" cy="6492875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2"/>
                </a:gs>
                <a:gs pos="100000">
                  <a:schemeClr val="accent4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emento grafico 15">
            <a:extLst>
              <a:ext uri="{FF2B5EF4-FFF2-40B4-BE49-F238E27FC236}">
                <a16:creationId xmlns:a16="http://schemas.microsoft.com/office/drawing/2014/main" id="{D8685329-C6A1-4CB4-8AAE-150D0341F6A2}"/>
              </a:ext>
            </a:extLst>
          </p:cNvPr>
          <p:cNvSpPr/>
          <p:nvPr userDrawn="1"/>
        </p:nvSpPr>
        <p:spPr>
          <a:xfrm>
            <a:off x="10508317" y="492206"/>
            <a:ext cx="139039" cy="139039"/>
          </a:xfrm>
          <a:custGeom>
            <a:avLst/>
            <a:gdLst>
              <a:gd name="connsiteX0" fmla="*/ 129602 w 139039"/>
              <a:gd name="connsiteY0" fmla="*/ 60082 h 139039"/>
              <a:gd name="connsiteX1" fmla="*/ 78957 w 139039"/>
              <a:gd name="connsiteY1" fmla="*/ 60082 h 139039"/>
              <a:gd name="connsiteX2" fmla="*/ 78957 w 139039"/>
              <a:gd name="connsiteY2" fmla="*/ 9437 h 139039"/>
              <a:gd name="connsiteX3" fmla="*/ 69520 w 139039"/>
              <a:gd name="connsiteY3" fmla="*/ 0 h 139039"/>
              <a:gd name="connsiteX4" fmla="*/ 60082 w 139039"/>
              <a:gd name="connsiteY4" fmla="*/ 9437 h 139039"/>
              <a:gd name="connsiteX5" fmla="*/ 60082 w 139039"/>
              <a:gd name="connsiteY5" fmla="*/ 60082 h 139039"/>
              <a:gd name="connsiteX6" fmla="*/ 9437 w 139039"/>
              <a:gd name="connsiteY6" fmla="*/ 60082 h 139039"/>
              <a:gd name="connsiteX7" fmla="*/ 0 w 139039"/>
              <a:gd name="connsiteY7" fmla="*/ 69520 h 139039"/>
              <a:gd name="connsiteX8" fmla="*/ 9437 w 139039"/>
              <a:gd name="connsiteY8" fmla="*/ 78957 h 139039"/>
              <a:gd name="connsiteX9" fmla="*/ 60082 w 139039"/>
              <a:gd name="connsiteY9" fmla="*/ 78957 h 139039"/>
              <a:gd name="connsiteX10" fmla="*/ 60082 w 139039"/>
              <a:gd name="connsiteY10" fmla="*/ 129602 h 139039"/>
              <a:gd name="connsiteX11" fmla="*/ 69520 w 139039"/>
              <a:gd name="connsiteY11" fmla="*/ 139039 h 139039"/>
              <a:gd name="connsiteX12" fmla="*/ 78957 w 139039"/>
              <a:gd name="connsiteY12" fmla="*/ 129602 h 139039"/>
              <a:gd name="connsiteX13" fmla="*/ 78957 w 139039"/>
              <a:gd name="connsiteY13" fmla="*/ 78957 h 139039"/>
              <a:gd name="connsiteX14" fmla="*/ 129602 w 139039"/>
              <a:gd name="connsiteY14" fmla="*/ 78957 h 139039"/>
              <a:gd name="connsiteX15" fmla="*/ 139039 w 139039"/>
              <a:gd name="connsiteY15" fmla="*/ 69520 h 139039"/>
              <a:gd name="connsiteX16" fmla="*/ 129602 w 139039"/>
              <a:gd name="connsiteY16" fmla="*/ 60082 h 139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9039" h="139039">
                <a:moveTo>
                  <a:pt x="129602" y="60082"/>
                </a:moveTo>
                <a:lnTo>
                  <a:pt x="78957" y="60082"/>
                </a:lnTo>
                <a:lnTo>
                  <a:pt x="78957" y="9437"/>
                </a:lnTo>
                <a:cubicBezTo>
                  <a:pt x="78957" y="4225"/>
                  <a:pt x="74731" y="0"/>
                  <a:pt x="69520" y="0"/>
                </a:cubicBezTo>
                <a:cubicBezTo>
                  <a:pt x="64308" y="0"/>
                  <a:pt x="60082" y="4225"/>
                  <a:pt x="60082" y="9437"/>
                </a:cubicBezTo>
                <a:lnTo>
                  <a:pt x="60082" y="60082"/>
                </a:lnTo>
                <a:lnTo>
                  <a:pt x="9437" y="60082"/>
                </a:lnTo>
                <a:cubicBezTo>
                  <a:pt x="4225" y="60082"/>
                  <a:pt x="0" y="64308"/>
                  <a:pt x="0" y="69520"/>
                </a:cubicBezTo>
                <a:cubicBezTo>
                  <a:pt x="0" y="74731"/>
                  <a:pt x="4225" y="78957"/>
                  <a:pt x="9437" y="78957"/>
                </a:cubicBezTo>
                <a:lnTo>
                  <a:pt x="60082" y="78957"/>
                </a:lnTo>
                <a:lnTo>
                  <a:pt x="60082" y="129602"/>
                </a:lnTo>
                <a:cubicBezTo>
                  <a:pt x="60082" y="134814"/>
                  <a:pt x="64308" y="139039"/>
                  <a:pt x="69520" y="139039"/>
                </a:cubicBezTo>
                <a:cubicBezTo>
                  <a:pt x="74731" y="139039"/>
                  <a:pt x="78957" y="134814"/>
                  <a:pt x="78957" y="129602"/>
                </a:cubicBezTo>
                <a:lnTo>
                  <a:pt x="78957" y="78957"/>
                </a:lnTo>
                <a:lnTo>
                  <a:pt x="129602" y="78957"/>
                </a:lnTo>
                <a:cubicBezTo>
                  <a:pt x="134814" y="78957"/>
                  <a:pt x="139039" y="74731"/>
                  <a:pt x="139039" y="69520"/>
                </a:cubicBezTo>
                <a:cubicBezTo>
                  <a:pt x="139039" y="64308"/>
                  <a:pt x="134814" y="60082"/>
                  <a:pt x="129602" y="60082"/>
                </a:cubicBezTo>
                <a:close/>
              </a:path>
            </a:pathLst>
          </a:custGeom>
          <a:solidFill>
            <a:schemeClr val="accent2"/>
          </a:solidFill>
          <a:ln w="603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2" name="Elemento grafico 16">
            <a:extLst>
              <a:ext uri="{FF2B5EF4-FFF2-40B4-BE49-F238E27FC236}">
                <a16:creationId xmlns:a16="http://schemas.microsoft.com/office/drawing/2014/main" id="{83CE1DAA-30A3-41AE-8AE1-A7EE5C48A6F3}"/>
              </a:ext>
            </a:extLst>
          </p:cNvPr>
          <p:cNvSpPr/>
          <p:nvPr userDrawn="1"/>
        </p:nvSpPr>
        <p:spPr>
          <a:xfrm>
            <a:off x="11477944" y="1055581"/>
            <a:ext cx="127714" cy="127714"/>
          </a:xfrm>
          <a:custGeom>
            <a:avLst/>
            <a:gdLst>
              <a:gd name="connsiteX0" fmla="*/ 63857 w 127714"/>
              <a:gd name="connsiteY0" fmla="*/ 18874 h 127714"/>
              <a:gd name="connsiteX1" fmla="*/ 108840 w 127714"/>
              <a:gd name="connsiteY1" fmla="*/ 63857 h 127714"/>
              <a:gd name="connsiteX2" fmla="*/ 63857 w 127714"/>
              <a:gd name="connsiteY2" fmla="*/ 108840 h 127714"/>
              <a:gd name="connsiteX3" fmla="*/ 18874 w 127714"/>
              <a:gd name="connsiteY3" fmla="*/ 63857 h 127714"/>
              <a:gd name="connsiteX4" fmla="*/ 63857 w 127714"/>
              <a:gd name="connsiteY4" fmla="*/ 18874 h 127714"/>
              <a:gd name="connsiteX5" fmla="*/ 63857 w 127714"/>
              <a:gd name="connsiteY5" fmla="*/ 0 h 127714"/>
              <a:gd name="connsiteX6" fmla="*/ 0 w 127714"/>
              <a:gd name="connsiteY6" fmla="*/ 63857 h 127714"/>
              <a:gd name="connsiteX7" fmla="*/ 63857 w 127714"/>
              <a:gd name="connsiteY7" fmla="*/ 127714 h 127714"/>
              <a:gd name="connsiteX8" fmla="*/ 127714 w 127714"/>
              <a:gd name="connsiteY8" fmla="*/ 63857 h 127714"/>
              <a:gd name="connsiteX9" fmla="*/ 63857 w 127714"/>
              <a:gd name="connsiteY9" fmla="*/ 0 h 12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7714" h="127714">
                <a:moveTo>
                  <a:pt x="63857" y="18874"/>
                </a:moveTo>
                <a:cubicBezTo>
                  <a:pt x="88700" y="18874"/>
                  <a:pt x="108840" y="39014"/>
                  <a:pt x="108840" y="63857"/>
                </a:cubicBezTo>
                <a:cubicBezTo>
                  <a:pt x="108840" y="88700"/>
                  <a:pt x="88700" y="108840"/>
                  <a:pt x="63857" y="108840"/>
                </a:cubicBezTo>
                <a:cubicBezTo>
                  <a:pt x="39014" y="108840"/>
                  <a:pt x="18874" y="88700"/>
                  <a:pt x="18874" y="63857"/>
                </a:cubicBezTo>
                <a:cubicBezTo>
                  <a:pt x="18898" y="39024"/>
                  <a:pt x="39024" y="18898"/>
                  <a:pt x="63857" y="18874"/>
                </a:cubicBezTo>
                <a:moveTo>
                  <a:pt x="63857" y="0"/>
                </a:moveTo>
                <a:cubicBezTo>
                  <a:pt x="28590" y="0"/>
                  <a:pt x="0" y="28590"/>
                  <a:pt x="0" y="63857"/>
                </a:cubicBezTo>
                <a:cubicBezTo>
                  <a:pt x="0" y="99124"/>
                  <a:pt x="28590" y="127714"/>
                  <a:pt x="63857" y="127714"/>
                </a:cubicBezTo>
                <a:cubicBezTo>
                  <a:pt x="99124" y="127714"/>
                  <a:pt x="127714" y="99124"/>
                  <a:pt x="127714" y="63857"/>
                </a:cubicBezTo>
                <a:cubicBezTo>
                  <a:pt x="127714" y="28590"/>
                  <a:pt x="99124" y="0"/>
                  <a:pt x="63857" y="0"/>
                </a:cubicBezTo>
                <a:close/>
              </a:path>
            </a:pathLst>
          </a:custGeom>
          <a:solidFill>
            <a:schemeClr val="accent2"/>
          </a:solidFill>
          <a:ln w="61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  <p:sp>
        <p:nvSpPr>
          <p:cNvPr id="14" name="Elemento grafico 14">
            <a:extLst>
              <a:ext uri="{FF2B5EF4-FFF2-40B4-BE49-F238E27FC236}">
                <a16:creationId xmlns:a16="http://schemas.microsoft.com/office/drawing/2014/main" id="{065162DD-7ACB-4F9C-90DD-24C743035892}"/>
              </a:ext>
            </a:extLst>
          </p:cNvPr>
          <p:cNvSpPr/>
          <p:nvPr userDrawn="1"/>
        </p:nvSpPr>
        <p:spPr>
          <a:xfrm>
            <a:off x="11241555" y="446637"/>
            <a:ext cx="91138" cy="91138"/>
          </a:xfrm>
          <a:custGeom>
            <a:avLst/>
            <a:gdLst>
              <a:gd name="connsiteX0" fmla="*/ 91138 w 91138"/>
              <a:gd name="connsiteY0" fmla="*/ 45569 h 91138"/>
              <a:gd name="connsiteX1" fmla="*/ 45569 w 91138"/>
              <a:gd name="connsiteY1" fmla="*/ 91138 h 91138"/>
              <a:gd name="connsiteX2" fmla="*/ 0 w 91138"/>
              <a:gd name="connsiteY2" fmla="*/ 45569 h 91138"/>
              <a:gd name="connsiteX3" fmla="*/ 45569 w 91138"/>
              <a:gd name="connsiteY3" fmla="*/ 0 h 91138"/>
              <a:gd name="connsiteX4" fmla="*/ 91138 w 91138"/>
              <a:gd name="connsiteY4" fmla="*/ 45569 h 91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38" h="91138">
                <a:moveTo>
                  <a:pt x="91138" y="45569"/>
                </a:moveTo>
                <a:cubicBezTo>
                  <a:pt x="91138" y="70736"/>
                  <a:pt x="70736" y="91138"/>
                  <a:pt x="45569" y="91138"/>
                </a:cubicBezTo>
                <a:cubicBezTo>
                  <a:pt x="20402" y="91138"/>
                  <a:pt x="0" y="70736"/>
                  <a:pt x="0" y="45569"/>
                </a:cubicBezTo>
                <a:cubicBezTo>
                  <a:pt x="0" y="20402"/>
                  <a:pt x="20402" y="0"/>
                  <a:pt x="45569" y="0"/>
                </a:cubicBezTo>
                <a:cubicBezTo>
                  <a:pt x="70736" y="0"/>
                  <a:pt x="91138" y="20402"/>
                  <a:pt x="91138" y="45569"/>
                </a:cubicBezTo>
                <a:close/>
              </a:path>
            </a:pathLst>
          </a:custGeom>
          <a:solidFill>
            <a:schemeClr val="accent2"/>
          </a:solidFill>
          <a:ln w="42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205288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72000">
              <a:srgbClr val="FFFF99"/>
            </a:gs>
            <a:gs pos="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0FDA4224-F4E4-47A4-ACF7-231749390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it-IT" noProof="0"/>
              <a:t>Fare clic per modificare lo stile del titolo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1679907-DC49-4B86-A34C-C97DBC26A9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5DBC8A0-34FC-4B6E-B42B-A721267D89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 i="0" cap="all" spc="1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r>
              <a:rPr lang="it-IT" noProof="0"/>
              <a:t>03/09/20XX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09AC0B6-4CC4-4E41-8A4D-F62E17F285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 cap="all" spc="1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r>
              <a:rPr lang="it-IT" noProof="0"/>
              <a:t>Titolo presentazion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6C0E9BD-90BD-46AE-8A0D-06796ADB7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 cap="all" spc="1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D8DA9DAA-006C-4F4B-980E-E3DF019B24E2}" type="slidenum">
              <a:rPr lang="it-IT" noProof="0" smtClean="0"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99971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08" r:id="rId2"/>
    <p:sldLayoutId id="2147483717" r:id="rId3"/>
    <p:sldLayoutId id="2147483710" r:id="rId4"/>
    <p:sldLayoutId id="2147483709" r:id="rId5"/>
    <p:sldLayoutId id="2147483698" r:id="rId6"/>
    <p:sldLayoutId id="2147483713" r:id="rId7"/>
    <p:sldLayoutId id="2147483712" r:id="rId8"/>
    <p:sldLayoutId id="2147483700" r:id="rId9"/>
    <p:sldLayoutId id="2147483701" r:id="rId10"/>
    <p:sldLayoutId id="2147483716" r:id="rId11"/>
    <p:sldLayoutId id="2147483714" r:id="rId12"/>
    <p:sldLayoutId id="2147483715" r:id="rId13"/>
    <p:sldLayoutId id="2147483702" r:id="rId14"/>
    <p:sldLayoutId id="2147483703" r:id="rId15"/>
    <p:sldLayoutId id="2147483704" r:id="rId16"/>
    <p:sldLayoutId id="2147483705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png"/><Relationship Id="rId5" Type="http://schemas.openxmlformats.org/officeDocument/2006/relationships/image" Target="../media/image12.jpeg"/><Relationship Id="rId4" Type="http://schemas.openxmlformats.org/officeDocument/2006/relationships/hyperlink" Target="mailto:pnrr.supporto.rts.milano@mef.gov.it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10" Type="http://schemas.openxmlformats.org/officeDocument/2006/relationships/image" Target="../media/image8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pnrr.supporto.rts.milano@mef.gov.it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2" descr="Logo&#10;&#10;Description automatically generated">
            <a:extLst>
              <a:ext uri="{FF2B5EF4-FFF2-40B4-BE49-F238E27FC236}">
                <a16:creationId xmlns:a16="http://schemas.microsoft.com/office/drawing/2014/main" id="{D6ECE088-0494-1F4D-5E4E-C5A243BEF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675" y="2568575"/>
            <a:ext cx="3427413" cy="2865438"/>
          </a:xfrm>
          <a:prstGeom prst="rect">
            <a:avLst/>
          </a:prstGeom>
        </p:spPr>
      </p:pic>
      <p:pic>
        <p:nvPicPr>
          <p:cNvPr id="1028" name="Picture 4" descr="Il Piano Nazionale di Ripresa e Resilienza (PNRR) - Ministero dell'Economia  e delle Finanze">
            <a:extLst>
              <a:ext uri="{FF2B5EF4-FFF2-40B4-BE49-F238E27FC236}">
                <a16:creationId xmlns:a16="http://schemas.microsoft.com/office/drawing/2014/main" id="{364719C4-CEC4-6FCD-1B79-81A381D77A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5113" y="2568575"/>
            <a:ext cx="7270750" cy="286543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C3A9968B-2619-4F71-AB00-4C493E120805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76072" y="365125"/>
            <a:ext cx="10771632" cy="1911350"/>
          </a:xfrm>
        </p:spPr>
        <p:txBody>
          <a:bodyPr rtlCol="0" anchor="ctr">
            <a:normAutofit/>
          </a:bodyPr>
          <a:lstStyle/>
          <a:p>
            <a:pPr algn="ctr" rtl="0"/>
            <a:r>
              <a:rPr lang="it-IT" sz="2800" b="1" dirty="0">
                <a:solidFill>
                  <a:schemeClr val="bg2">
                    <a:lumMod val="50000"/>
                  </a:schemeClr>
                </a:solidFill>
              </a:rPr>
              <a:t>DIREZIONE GENERALE NORD-OVEST</a:t>
            </a:r>
            <a:br>
              <a:rPr lang="it-IT" sz="22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it-IT" sz="2200" b="1" dirty="0">
                <a:solidFill>
                  <a:schemeClr val="bg2">
                    <a:lumMod val="50000"/>
                  </a:schemeClr>
                </a:solidFill>
              </a:rPr>
              <a:t>Assistenza tecnica offerta dai presidi territoriali della Ragioneria Generale dello Stato</a:t>
            </a:r>
            <a:br>
              <a:rPr lang="it-IT" sz="2200" b="1" dirty="0">
                <a:solidFill>
                  <a:schemeClr val="bg2">
                    <a:lumMod val="50000"/>
                  </a:schemeClr>
                </a:solidFill>
              </a:rPr>
            </a:br>
            <a:endParaRPr lang="it-IT" sz="22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698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a 23">
            <a:extLst>
              <a:ext uri="{FF2B5EF4-FFF2-40B4-BE49-F238E27FC236}">
                <a16:creationId xmlns:a16="http://schemas.microsoft.com/office/drawing/2014/main" id="{58BE50D5-6EDA-7199-3D92-2D7432F7F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5198295"/>
              </p:ext>
            </p:extLst>
          </p:nvPr>
        </p:nvGraphicFramePr>
        <p:xfrm>
          <a:off x="1524000" y="0"/>
          <a:ext cx="10101943" cy="2849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7607">
                  <a:extLst>
                    <a:ext uri="{9D8B030D-6E8A-4147-A177-3AD203B41FA5}">
                      <a16:colId xmlns:a16="http://schemas.microsoft.com/office/drawing/2014/main" val="1158331166"/>
                    </a:ext>
                  </a:extLst>
                </a:gridCol>
                <a:gridCol w="5244336">
                  <a:extLst>
                    <a:ext uri="{9D8B030D-6E8A-4147-A177-3AD203B41FA5}">
                      <a16:colId xmlns:a16="http://schemas.microsoft.com/office/drawing/2014/main" val="2798149666"/>
                    </a:ext>
                  </a:extLst>
                </a:gridCol>
              </a:tblGrid>
              <a:tr h="29564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GIONERIE TERRITORIALI</a:t>
                      </a:r>
                      <a:endParaRPr lang="it-IT" dirty="0"/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FETTURE</a:t>
                      </a:r>
                      <a:endParaRPr lang="it-IT" dirty="0"/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9595018"/>
                  </a:ext>
                </a:extLst>
              </a:tr>
              <a:tr h="2209430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ifiche antimafia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ai sensi della normativa vigente e delle indicazioni di cui alla circolare del Gabinetto del Ministro dell’interno n. 38877 del 13 giugno 2022.</a:t>
                      </a:r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464025"/>
                  </a:ext>
                </a:extLst>
              </a:tr>
            </a:tbl>
          </a:graphicData>
        </a:graphic>
      </p:graphicFrame>
      <p:sp>
        <p:nvSpPr>
          <p:cNvPr id="7" name="CasellaDiTesto 6">
            <a:extLst>
              <a:ext uri="{FF2B5EF4-FFF2-40B4-BE49-F238E27FC236}">
                <a16:creationId xmlns:a16="http://schemas.microsoft.com/office/drawing/2014/main" id="{EE3AFA25-262F-4AD7-F698-7F7BA5BE2174}"/>
              </a:ext>
            </a:extLst>
          </p:cNvPr>
          <p:cNvSpPr txBox="1"/>
          <p:nvPr/>
        </p:nvSpPr>
        <p:spPr>
          <a:xfrm>
            <a:off x="809625" y="3131328"/>
            <a:ext cx="1081631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2000" dirty="0">
                <a:solidFill>
                  <a:schemeClr val="dk1"/>
                </a:solidFill>
              </a:rPr>
              <a:t>A seguito delle verifiche POSITIVE della RTS, il Ministero dell’interno, attraverso le proprie strutture centrali e/o periferiche, procederà ad effettuare controlli specifici circa la sussistenza dei requisiti di ammissibilità PNRR su un campione statisticamente rappresentativo degli interventi, estratto sulla base di un’analisi dei rischi. </a:t>
            </a:r>
          </a:p>
          <a:p>
            <a:pPr algn="just"/>
            <a:r>
              <a:rPr lang="it-IT" sz="2000" dirty="0">
                <a:solidFill>
                  <a:schemeClr val="dk1"/>
                </a:solidFill>
              </a:rPr>
              <a:t>Tali verifiche consistono in controlli di merito amministrativo-documentali finalizzati ad attestare la correttezza, la regolarità e la conformità alla normativa di riferimento, anche relativamente alle procedure di gara/affidamento adottate per l’attuazione dell’intervento, nonché all’effettività e ammissibilità delle spese sostenute e rendicontate dai Soggetti attuatori</a:t>
            </a:r>
          </a:p>
        </p:txBody>
      </p:sp>
      <p:pic>
        <p:nvPicPr>
          <p:cNvPr id="8" name="Picture 32" descr="Logo&#10;&#10;Description automatically generated">
            <a:extLst>
              <a:ext uri="{FF2B5EF4-FFF2-40B4-BE49-F238E27FC236}">
                <a16:creationId xmlns:a16="http://schemas.microsoft.com/office/drawing/2014/main" id="{D55553D9-B4CF-68CC-F182-4900000E88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26091" y="6293816"/>
            <a:ext cx="351082" cy="29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0271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Differenziare nuovi ed existing customers: come? - Awin">
            <a:extLst>
              <a:ext uri="{FF2B5EF4-FFF2-40B4-BE49-F238E27FC236}">
                <a16:creationId xmlns:a16="http://schemas.microsoft.com/office/drawing/2014/main" id="{1CEDA80B-B703-7AD5-C746-C6B6D85D3A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233" y="1485899"/>
            <a:ext cx="4281487" cy="2389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A3CC3DD5-4EDE-8488-F67F-CA4968657A85}"/>
              </a:ext>
            </a:extLst>
          </p:cNvPr>
          <p:cNvSpPr txBox="1"/>
          <p:nvPr/>
        </p:nvSpPr>
        <p:spPr>
          <a:xfrm>
            <a:off x="5676901" y="5738842"/>
            <a:ext cx="60796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800" u="sng" dirty="0">
                <a:solidFill>
                  <a:schemeClr val="bg2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nrr.supporto.rts.milano@mef.gov.it</a:t>
            </a:r>
            <a:endParaRPr lang="it-IT" sz="28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1" name="Picture 4" descr="Revisione legale">
            <a:extLst>
              <a:ext uri="{FF2B5EF4-FFF2-40B4-BE49-F238E27FC236}">
                <a16:creationId xmlns:a16="http://schemas.microsoft.com/office/drawing/2014/main" id="{31E9EBB7-F187-6622-5514-17C804487B63}"/>
              </a:ext>
            </a:extLst>
          </p:cNvPr>
          <p:cNvPicPr>
            <a:picLocks noGrp="1" noChangeAspect="1" noChangeArrowheads="1"/>
          </p:cNvPicPr>
          <p:nvPr>
            <p:ph type="pic" sz="quarter" idx="17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80" b="13180"/>
          <a:stretch>
            <a:fillRect/>
          </a:stretch>
        </p:blipFill>
        <p:spPr bwMode="auto">
          <a:xfrm>
            <a:off x="581978" y="3324225"/>
            <a:ext cx="2713672" cy="1738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2" descr="Logo&#10;&#10;Description automatically generated">
            <a:extLst>
              <a:ext uri="{FF2B5EF4-FFF2-40B4-BE49-F238E27FC236}">
                <a16:creationId xmlns:a16="http://schemas.microsoft.com/office/drawing/2014/main" id="{30AAFEE6-9A89-21CC-368F-8F43DC0224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26091" y="6293816"/>
            <a:ext cx="351082" cy="294908"/>
          </a:xfrm>
          <a:prstGeom prst="rect">
            <a:avLst/>
          </a:prstGeom>
        </p:spPr>
      </p:pic>
      <p:sp>
        <p:nvSpPr>
          <p:cNvPr id="5" name="Titolo 4">
            <a:extLst>
              <a:ext uri="{FF2B5EF4-FFF2-40B4-BE49-F238E27FC236}">
                <a16:creationId xmlns:a16="http://schemas.microsoft.com/office/drawing/2014/main" id="{54FA40EE-E302-8E47-BA45-E49B3B1FD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719" y="585216"/>
            <a:ext cx="6079669" cy="2276856"/>
          </a:xfrm>
        </p:spPr>
        <p:txBody>
          <a:bodyPr>
            <a:normAutofit/>
          </a:bodyPr>
          <a:lstStyle/>
          <a:p>
            <a:r>
              <a:rPr lang="it-IT" sz="1600" i="1" dirty="0">
                <a:solidFill>
                  <a:schemeClr val="bg2">
                    <a:lumMod val="50000"/>
                  </a:schemeClr>
                </a:solidFill>
                <a:effectLst/>
                <a:latin typeface="Albertus MT Lt" pitchFamily="2" charset="0"/>
              </a:rPr>
              <a:t>Molte mani rendono il lavoro leggero.</a:t>
            </a:r>
            <a:br>
              <a:rPr lang="it-IT" sz="1600" i="1" dirty="0">
                <a:solidFill>
                  <a:schemeClr val="bg2">
                    <a:lumMod val="50000"/>
                  </a:schemeClr>
                </a:solidFill>
                <a:latin typeface="Albertus MT Lt" pitchFamily="2" charset="0"/>
              </a:rPr>
            </a:br>
            <a:r>
              <a:rPr lang="it-IT" sz="1600" i="1" dirty="0">
                <a:solidFill>
                  <a:schemeClr val="bg2">
                    <a:lumMod val="50000"/>
                  </a:schemeClr>
                </a:solidFill>
                <a:effectLst/>
                <a:latin typeface="Albertus MT Lt" pitchFamily="2" charset="0"/>
              </a:rPr>
              <a:t>(</a:t>
            </a:r>
            <a:r>
              <a:rPr lang="it-IT" sz="1600" i="1" dirty="0" err="1">
                <a:solidFill>
                  <a:schemeClr val="bg2">
                    <a:lumMod val="50000"/>
                  </a:schemeClr>
                </a:solidFill>
                <a:effectLst/>
                <a:latin typeface="Albertus MT Lt" pitchFamily="2" charset="0"/>
              </a:rPr>
              <a:t>J.h</a:t>
            </a:r>
            <a:r>
              <a:rPr lang="it-IT" sz="1600" i="1" dirty="0">
                <a:solidFill>
                  <a:schemeClr val="bg2">
                    <a:lumMod val="50000"/>
                  </a:schemeClr>
                </a:solidFill>
                <a:effectLst/>
                <a:latin typeface="Albertus MT Lt" pitchFamily="2" charset="0"/>
              </a:rPr>
              <a:t>.)</a:t>
            </a:r>
            <a:endParaRPr lang="it-IT" sz="1600" i="1" dirty="0">
              <a:solidFill>
                <a:schemeClr val="bg2">
                  <a:lumMod val="50000"/>
                </a:schemeClr>
              </a:solidFill>
              <a:latin typeface="Albertus MT Lt" pitchFamily="2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1FAF748-D3DC-134D-31C8-0E6B14526C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1481" y="3442369"/>
            <a:ext cx="3729037" cy="162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1473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2AEBF1F-EB3D-4226-958A-9FDB4CC7DF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8228530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b="1" u="sng" kern="1200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Allocazione</a:t>
            </a:r>
            <a:r>
              <a:rPr lang="en-US" sz="3700" b="1" u="sng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700" b="1" u="sng" kern="1200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delle</a:t>
            </a:r>
            <a:r>
              <a:rPr lang="en-US" sz="3700" b="1" u="sng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700" b="1" u="sng" kern="1200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risorse</a:t>
            </a:r>
            <a:r>
              <a:rPr lang="en-US" sz="3700" b="1" u="sng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 RRF a </a:t>
            </a:r>
            <a:r>
              <a:rPr lang="en-US" sz="3700" b="1" u="sng" kern="1200" dirty="0" err="1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Missioni</a:t>
            </a:r>
            <a:r>
              <a:rPr lang="en-US" sz="3700" b="1" u="sng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.</a:t>
            </a:r>
          </a:p>
        </p:txBody>
      </p:sp>
      <p:pic>
        <p:nvPicPr>
          <p:cNvPr id="1028" name="Picture 4" descr="Raccolte DifferenziatePNRR: briciole alla soluzione del problema rifiuti  (lo 0,9%) - Raccolte Differenziate">
            <a:extLst>
              <a:ext uri="{FF2B5EF4-FFF2-40B4-BE49-F238E27FC236}">
                <a16:creationId xmlns:a16="http://schemas.microsoft.com/office/drawing/2014/main" id="{4E3A0D6C-C40D-4561-A329-30DFA134AD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16123" y="1655276"/>
            <a:ext cx="9451986" cy="4844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47229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tangolo 13">
            <a:extLst>
              <a:ext uri="{FF2B5EF4-FFF2-40B4-BE49-F238E27FC236}">
                <a16:creationId xmlns:a16="http://schemas.microsoft.com/office/drawing/2014/main" id="{7A29E767-7E16-98F8-0148-3F186215E711}"/>
              </a:ext>
            </a:extLst>
          </p:cNvPr>
          <p:cNvSpPr/>
          <p:nvPr/>
        </p:nvSpPr>
        <p:spPr>
          <a:xfrm>
            <a:off x="3563847" y="4173176"/>
            <a:ext cx="7535233" cy="1455124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it-IT" sz="1400">
              <a:solidFill>
                <a:schemeClr val="tx1"/>
              </a:solidFill>
              <a:latin typeface="Graphik" panose="020B0503030202060203"/>
            </a:endParaRPr>
          </a:p>
        </p:txBody>
      </p:sp>
      <p:sp>
        <p:nvSpPr>
          <p:cNvPr id="7" name="Rettangolo 13">
            <a:extLst>
              <a:ext uri="{FF2B5EF4-FFF2-40B4-BE49-F238E27FC236}">
                <a16:creationId xmlns:a16="http://schemas.microsoft.com/office/drawing/2014/main" id="{E4887A01-5145-38ED-16C8-4DA54654D56A}"/>
              </a:ext>
            </a:extLst>
          </p:cNvPr>
          <p:cNvSpPr/>
          <p:nvPr/>
        </p:nvSpPr>
        <p:spPr>
          <a:xfrm>
            <a:off x="3563847" y="2099720"/>
            <a:ext cx="7535233" cy="1664465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it-IT" sz="1400">
              <a:solidFill>
                <a:schemeClr val="tx1"/>
              </a:solidFill>
              <a:latin typeface="Graphik" panose="020B0503030202060203"/>
            </a:endParaRPr>
          </a:p>
        </p:txBody>
      </p:sp>
      <p:sp>
        <p:nvSpPr>
          <p:cNvPr id="5" name="Rettangolo 13">
            <a:extLst>
              <a:ext uri="{FF2B5EF4-FFF2-40B4-BE49-F238E27FC236}">
                <a16:creationId xmlns:a16="http://schemas.microsoft.com/office/drawing/2014/main" id="{FC14AB2A-ED4C-4515-2D55-F71073E03F37}"/>
              </a:ext>
            </a:extLst>
          </p:cNvPr>
          <p:cNvSpPr/>
          <p:nvPr/>
        </p:nvSpPr>
        <p:spPr>
          <a:xfrm>
            <a:off x="3666082" y="4294501"/>
            <a:ext cx="7535233" cy="19642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it-IT" sz="1400">
              <a:solidFill>
                <a:schemeClr val="tx1"/>
              </a:solidFill>
              <a:latin typeface="Graphik" panose="020B0503030202060203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96EE6CF-2F1C-9079-3B6F-D9D979F1C663}"/>
              </a:ext>
            </a:extLst>
          </p:cNvPr>
          <p:cNvSpPr/>
          <p:nvPr/>
        </p:nvSpPr>
        <p:spPr>
          <a:xfrm>
            <a:off x="1226843" y="4769737"/>
            <a:ext cx="2643792" cy="563693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4243ABA1-F2CD-4B37-A3C6-285E3489D6DE}"/>
              </a:ext>
            </a:extLst>
          </p:cNvPr>
          <p:cNvSpPr/>
          <p:nvPr/>
        </p:nvSpPr>
        <p:spPr>
          <a:xfrm>
            <a:off x="3700904" y="2206914"/>
            <a:ext cx="7535233" cy="1907630"/>
          </a:xfrm>
          <a:prstGeom prst="rect">
            <a:avLst/>
          </a:prstGeom>
          <a:solidFill>
            <a:srgbClr val="D9E9F9"/>
          </a:solidFill>
          <a:ln>
            <a:solidFill>
              <a:schemeClr val="tx1"/>
            </a:solidFill>
            <a:prstDash val="sysDot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24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it-IT" sz="1400">
              <a:solidFill>
                <a:schemeClr val="tx1"/>
              </a:solidFill>
              <a:latin typeface="Graphik" panose="020B0503030202060203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B131A07-6659-F362-AAAC-52AC9623E2D0}"/>
              </a:ext>
            </a:extLst>
          </p:cNvPr>
          <p:cNvSpPr/>
          <p:nvPr/>
        </p:nvSpPr>
        <p:spPr>
          <a:xfrm>
            <a:off x="1239642" y="2814201"/>
            <a:ext cx="2643792" cy="563693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3804EF5B-F359-F12D-287D-C672F74E46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3" imgH="473" progId="TCLayout.ActiveDocument.1">
                  <p:embed/>
                </p:oleObj>
              </mc:Choice>
              <mc:Fallback>
                <p:oleObj name="Diapositiva think-cell" r:id="rId4" imgW="473" imgH="473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3804EF5B-F359-F12D-287D-C672F74E46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AutoShape 3">
            <a:extLst>
              <a:ext uri="{FF2B5EF4-FFF2-40B4-BE49-F238E27FC236}">
                <a16:creationId xmlns:a16="http://schemas.microsoft.com/office/drawing/2014/main" id="{134E9E31-4517-473F-ADFF-C568C1194EF3}"/>
              </a:ext>
            </a:extLst>
          </p:cNvPr>
          <p:cNvSpPr/>
          <p:nvPr/>
        </p:nvSpPr>
        <p:spPr>
          <a:xfrm>
            <a:off x="719628" y="803200"/>
            <a:ext cx="2335554" cy="100977"/>
          </a:xfrm>
          <a:prstGeom prst="rect">
            <a:avLst/>
          </a:prstGeom>
          <a:solidFill>
            <a:srgbClr val="5F81C2"/>
          </a:solidFill>
        </p:spPr>
        <p:txBody>
          <a:bodyPr/>
          <a:lstStyle/>
          <a:p>
            <a:endParaRPr lang="it-IT"/>
          </a:p>
        </p:txBody>
      </p:sp>
      <p:sp>
        <p:nvSpPr>
          <p:cNvPr id="40" name="AutoShape 2">
            <a:extLst>
              <a:ext uri="{FF2B5EF4-FFF2-40B4-BE49-F238E27FC236}">
                <a16:creationId xmlns:a16="http://schemas.microsoft.com/office/drawing/2014/main" id="{CBEAF06D-0CA5-42D1-8EDD-11C2309C0E8D}"/>
              </a:ext>
            </a:extLst>
          </p:cNvPr>
          <p:cNvSpPr/>
          <p:nvPr/>
        </p:nvSpPr>
        <p:spPr>
          <a:xfrm>
            <a:off x="-4242" y="0"/>
            <a:ext cx="351082" cy="6858000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endParaRPr lang="it-IT"/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22659BCD-6C1A-4C68-B265-026A694CB8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01315" y="6293631"/>
            <a:ext cx="351082" cy="294908"/>
          </a:xfrm>
          <a:prstGeom prst="rect">
            <a:avLst/>
          </a:prstGeom>
        </p:spPr>
      </p:pic>
      <p:sp>
        <p:nvSpPr>
          <p:cNvPr id="13" name="Rettangolo 12">
            <a:extLst>
              <a:ext uri="{FF2B5EF4-FFF2-40B4-BE49-F238E27FC236}">
                <a16:creationId xmlns:a16="http://schemas.microsoft.com/office/drawing/2014/main" id="{7152BF0F-BD57-4984-9888-43BF4014C316}"/>
              </a:ext>
            </a:extLst>
          </p:cNvPr>
          <p:cNvSpPr/>
          <p:nvPr/>
        </p:nvSpPr>
        <p:spPr>
          <a:xfrm>
            <a:off x="245994" y="950103"/>
            <a:ext cx="11776891" cy="1330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just"/>
            <a:r>
              <a:rPr lang="it-IT" sz="1600" dirty="0">
                <a:solidFill>
                  <a:schemeClr val="tx1"/>
                </a:solidFill>
                <a:latin typeface="Graphik" panose="020B0503030202060203"/>
              </a:rPr>
              <a:t>«L’iniziativa RTS» si inserisce in un articolato quadro di assistenza tecnica pensata e messa in campo dal MEF-RGS per l’attuazione del Piano Nazionale di Ripresa e Resilienza (PNRR) - L’iniziativa è realizzata nell’ambito del Protocollo d’intesa tra il Dipartimento per gli affari interni e territoriali del Ministero dell’Interno e il Dipartimento della Ragioneria Generale dello Stato del Ministero dell’Economia e delle Finanze</a:t>
            </a:r>
          </a:p>
          <a:p>
            <a:pPr lvl="1"/>
            <a:endParaRPr lang="it-IT" sz="1600" dirty="0">
              <a:solidFill>
                <a:schemeClr val="tx1"/>
              </a:solidFill>
              <a:latin typeface="Graphik" panose="020B0503030202060203"/>
            </a:endParaRPr>
          </a:p>
        </p:txBody>
      </p:sp>
      <p:sp>
        <p:nvSpPr>
          <p:cNvPr id="24" name="Segnaposto testo 1">
            <a:extLst>
              <a:ext uri="{FF2B5EF4-FFF2-40B4-BE49-F238E27FC236}">
                <a16:creationId xmlns:a16="http://schemas.microsoft.com/office/drawing/2014/main" id="{D7264C9A-7130-4366-84A6-097C717640E1}"/>
              </a:ext>
            </a:extLst>
          </p:cNvPr>
          <p:cNvSpPr txBox="1">
            <a:spLocks/>
          </p:cNvSpPr>
          <p:nvPr/>
        </p:nvSpPr>
        <p:spPr>
          <a:xfrm>
            <a:off x="719628" y="4796389"/>
            <a:ext cx="3164583" cy="419927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7061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800" b="1">
              <a:solidFill>
                <a:srgbClr val="1D3880"/>
              </a:solidFill>
            </a:endParaRPr>
          </a:p>
        </p:txBody>
      </p:sp>
      <p:pic>
        <p:nvPicPr>
          <p:cNvPr id="6" name="Elemento grafico 5" descr="Strumenti con riempimento a tinta unita">
            <a:extLst>
              <a:ext uri="{FF2B5EF4-FFF2-40B4-BE49-F238E27FC236}">
                <a16:creationId xmlns:a16="http://schemas.microsoft.com/office/drawing/2014/main" id="{B32DF212-240E-4C47-A197-00441454E8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11966" y="4769737"/>
            <a:ext cx="563692" cy="5636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A565372-0A87-9980-C509-2776C60D4317}"/>
              </a:ext>
            </a:extLst>
          </p:cNvPr>
          <p:cNvSpPr txBox="1"/>
          <p:nvPr/>
        </p:nvSpPr>
        <p:spPr>
          <a:xfrm>
            <a:off x="1895644" y="2911381"/>
            <a:ext cx="1837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OLO RTS</a:t>
            </a:r>
          </a:p>
        </p:txBody>
      </p:sp>
      <p:pic>
        <p:nvPicPr>
          <p:cNvPr id="18" name="Graphic 17" descr="Artificial Intelligence with solid fill">
            <a:extLst>
              <a:ext uri="{FF2B5EF4-FFF2-40B4-BE49-F238E27FC236}">
                <a16:creationId xmlns:a16="http://schemas.microsoft.com/office/drawing/2014/main" id="{821FAF45-AE47-5C3F-B051-75FE463246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46648" y="2768275"/>
            <a:ext cx="655544" cy="65554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B3E1374-C4D3-A78C-E425-23E6DD97E45F}"/>
              </a:ext>
            </a:extLst>
          </p:cNvPr>
          <p:cNvSpPr txBox="1"/>
          <p:nvPr/>
        </p:nvSpPr>
        <p:spPr>
          <a:xfrm>
            <a:off x="3756023" y="2254583"/>
            <a:ext cx="7411585" cy="181588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Supporto agli enti locali per il presidio e monitoraggio dello stato di attuazione degli interventi PNR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punto di contatto tra RGS e gli enti local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ottimizzazione dei processi di gestione </a:t>
            </a:r>
            <a:r>
              <a:rPr lang="it-IT" sz="1400" dirty="0">
                <a:solidFill>
                  <a:schemeClr val="tx1"/>
                </a:solidFill>
                <a:latin typeface="Graphik" panose="020B0503030202060203"/>
              </a:rPr>
              <a:t>e attuazione dei </a:t>
            </a:r>
            <a:r>
              <a:rPr lang="it-IT" sz="1400" dirty="0">
                <a:latin typeface="Graphik" panose="020B0503030202060203"/>
              </a:rPr>
              <a:t>progetti PNR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supportare la verifica del rispetto dei principi trasversali del PNRR con particolare riferimento al rispetto del DNS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fornire specifiche indicazioni per assicurare l’effettivo espletamento dei controlli antimafia previsti dalla normativa vigent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99C0C39-C64C-1D27-24B4-CE60B33FFBA0}"/>
              </a:ext>
            </a:extLst>
          </p:cNvPr>
          <p:cNvSpPr txBox="1"/>
          <p:nvPr/>
        </p:nvSpPr>
        <p:spPr>
          <a:xfrm>
            <a:off x="3835315" y="4377491"/>
            <a:ext cx="7468235" cy="20806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supporto nella gestione degli adempimenti di monitoraggio e rendicontazione in capo agli enti local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individuazione di eventuali ritardi nell’attuazione delle progettualità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promozione di attività formative e divulgativ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dirty="0">
                <a:latin typeface="Graphik" panose="020B0503030202060203"/>
              </a:rPr>
              <a:t>supporto all’utilizzo delle funzionalità del sistema informativo </a:t>
            </a:r>
            <a:r>
              <a:rPr lang="it-IT" sz="1400" dirty="0" err="1">
                <a:latin typeface="Graphik" panose="020B0503030202060203"/>
              </a:rPr>
              <a:t>ReGiS</a:t>
            </a:r>
            <a:endParaRPr lang="it-IT" sz="1400" dirty="0">
              <a:latin typeface="Graphik" panose="020B0503030202060203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7FE29F-BAC5-B084-DAC4-BC208C8EB9FF}"/>
              </a:ext>
            </a:extLst>
          </p:cNvPr>
          <p:cNvSpPr txBox="1"/>
          <p:nvPr/>
        </p:nvSpPr>
        <p:spPr>
          <a:xfrm>
            <a:off x="2086466" y="4866916"/>
            <a:ext cx="1646614" cy="376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IVITÀ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47895A4C-DDD8-BA0C-9B08-EF8D49704161}"/>
              </a:ext>
            </a:extLst>
          </p:cNvPr>
          <p:cNvSpPr txBox="1"/>
          <p:nvPr/>
        </p:nvSpPr>
        <p:spPr>
          <a:xfrm>
            <a:off x="719627" y="269461"/>
            <a:ext cx="108327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800" b="1" spc="12" dirty="0">
                <a:solidFill>
                  <a:srgbClr val="1D3880"/>
                </a:solidFill>
                <a:latin typeface="Graphik" panose="020B0503030202060203" pitchFamily="34" charset="0"/>
              </a:rPr>
              <a:t>MISSIONE DELLE RAGIONERIE TERRITORIALI DELLO STATO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4183774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Freeform 14">
            <a:extLst>
              <a:ext uri="{FF2B5EF4-FFF2-40B4-BE49-F238E27FC236}">
                <a16:creationId xmlns:a16="http://schemas.microsoft.com/office/drawing/2014/main" id="{D361CEE6-D0CF-4B25-A836-0A21EE6A48CA}"/>
              </a:ext>
            </a:extLst>
          </p:cNvPr>
          <p:cNvSpPr>
            <a:spLocks/>
          </p:cNvSpPr>
          <p:nvPr/>
        </p:nvSpPr>
        <p:spPr bwMode="auto">
          <a:xfrm>
            <a:off x="7025743" y="3929158"/>
            <a:ext cx="868178" cy="1515707"/>
          </a:xfrm>
          <a:custGeom>
            <a:avLst/>
            <a:gdLst>
              <a:gd name="T0" fmla="*/ 52 w 597"/>
              <a:gd name="T1" fmla="*/ 147 h 1110"/>
              <a:gd name="T2" fmla="*/ 101 w 597"/>
              <a:gd name="T3" fmla="*/ 173 h 1110"/>
              <a:gd name="T4" fmla="*/ 178 w 597"/>
              <a:gd name="T5" fmla="*/ 173 h 1110"/>
              <a:gd name="T6" fmla="*/ 245 w 597"/>
              <a:gd name="T7" fmla="*/ 147 h 1110"/>
              <a:gd name="T8" fmla="*/ 304 w 597"/>
              <a:gd name="T9" fmla="*/ 83 h 1110"/>
              <a:gd name="T10" fmla="*/ 361 w 597"/>
              <a:gd name="T11" fmla="*/ 49 h 1110"/>
              <a:gd name="T12" fmla="*/ 404 w 597"/>
              <a:gd name="T13" fmla="*/ 0 h 1110"/>
              <a:gd name="T14" fmla="*/ 443 w 597"/>
              <a:gd name="T15" fmla="*/ 34 h 1110"/>
              <a:gd name="T16" fmla="*/ 487 w 597"/>
              <a:gd name="T17" fmla="*/ 57 h 1110"/>
              <a:gd name="T18" fmla="*/ 497 w 597"/>
              <a:gd name="T19" fmla="*/ 98 h 1110"/>
              <a:gd name="T20" fmla="*/ 518 w 597"/>
              <a:gd name="T21" fmla="*/ 147 h 1110"/>
              <a:gd name="T22" fmla="*/ 561 w 597"/>
              <a:gd name="T23" fmla="*/ 188 h 1110"/>
              <a:gd name="T24" fmla="*/ 561 w 597"/>
              <a:gd name="T25" fmla="*/ 248 h 1110"/>
              <a:gd name="T26" fmla="*/ 579 w 597"/>
              <a:gd name="T27" fmla="*/ 322 h 1110"/>
              <a:gd name="T28" fmla="*/ 587 w 597"/>
              <a:gd name="T29" fmla="*/ 387 h 1110"/>
              <a:gd name="T30" fmla="*/ 541 w 597"/>
              <a:gd name="T31" fmla="*/ 430 h 1110"/>
              <a:gd name="T32" fmla="*/ 518 w 597"/>
              <a:gd name="T33" fmla="*/ 495 h 1110"/>
              <a:gd name="T34" fmla="*/ 549 w 597"/>
              <a:gd name="T35" fmla="*/ 554 h 1110"/>
              <a:gd name="T36" fmla="*/ 541 w 597"/>
              <a:gd name="T37" fmla="*/ 629 h 1110"/>
              <a:gd name="T38" fmla="*/ 523 w 597"/>
              <a:gd name="T39" fmla="*/ 693 h 1110"/>
              <a:gd name="T40" fmla="*/ 518 w 597"/>
              <a:gd name="T41" fmla="*/ 768 h 1110"/>
              <a:gd name="T42" fmla="*/ 510 w 597"/>
              <a:gd name="T43" fmla="*/ 835 h 1110"/>
              <a:gd name="T44" fmla="*/ 497 w 597"/>
              <a:gd name="T45" fmla="*/ 902 h 1110"/>
              <a:gd name="T46" fmla="*/ 479 w 597"/>
              <a:gd name="T47" fmla="*/ 961 h 1110"/>
              <a:gd name="T48" fmla="*/ 456 w 597"/>
              <a:gd name="T49" fmla="*/ 1025 h 1110"/>
              <a:gd name="T50" fmla="*/ 422 w 597"/>
              <a:gd name="T51" fmla="*/ 999 h 1110"/>
              <a:gd name="T52" fmla="*/ 371 w 597"/>
              <a:gd name="T53" fmla="*/ 961 h 1110"/>
              <a:gd name="T54" fmla="*/ 322 w 597"/>
              <a:gd name="T55" fmla="*/ 961 h 1110"/>
              <a:gd name="T56" fmla="*/ 278 w 597"/>
              <a:gd name="T57" fmla="*/ 992 h 1110"/>
              <a:gd name="T58" fmla="*/ 270 w 597"/>
              <a:gd name="T59" fmla="*/ 1059 h 1110"/>
              <a:gd name="T60" fmla="*/ 219 w 597"/>
              <a:gd name="T61" fmla="*/ 1110 h 1110"/>
              <a:gd name="T62" fmla="*/ 170 w 597"/>
              <a:gd name="T63" fmla="*/ 1082 h 1110"/>
              <a:gd name="T64" fmla="*/ 126 w 597"/>
              <a:gd name="T65" fmla="*/ 1100 h 1110"/>
              <a:gd name="T66" fmla="*/ 108 w 597"/>
              <a:gd name="T67" fmla="*/ 1041 h 1110"/>
              <a:gd name="T68" fmla="*/ 70 w 597"/>
              <a:gd name="T69" fmla="*/ 984 h 1110"/>
              <a:gd name="T70" fmla="*/ 64 w 597"/>
              <a:gd name="T71" fmla="*/ 925 h 1110"/>
              <a:gd name="T72" fmla="*/ 57 w 597"/>
              <a:gd name="T73" fmla="*/ 860 h 1110"/>
              <a:gd name="T74" fmla="*/ 77 w 597"/>
              <a:gd name="T75" fmla="*/ 801 h 1110"/>
              <a:gd name="T76" fmla="*/ 88 w 597"/>
              <a:gd name="T77" fmla="*/ 734 h 1110"/>
              <a:gd name="T78" fmla="*/ 108 w 597"/>
              <a:gd name="T79" fmla="*/ 703 h 1110"/>
              <a:gd name="T80" fmla="*/ 119 w 597"/>
              <a:gd name="T81" fmla="*/ 636 h 1110"/>
              <a:gd name="T82" fmla="*/ 82 w 597"/>
              <a:gd name="T83" fmla="*/ 603 h 1110"/>
              <a:gd name="T84" fmla="*/ 95 w 597"/>
              <a:gd name="T85" fmla="*/ 546 h 1110"/>
              <a:gd name="T86" fmla="*/ 108 w 597"/>
              <a:gd name="T87" fmla="*/ 472 h 1110"/>
              <a:gd name="T88" fmla="*/ 88 w 597"/>
              <a:gd name="T89" fmla="*/ 412 h 1110"/>
              <a:gd name="T90" fmla="*/ 77 w 597"/>
              <a:gd name="T91" fmla="*/ 340 h 1110"/>
              <a:gd name="T92" fmla="*/ 39 w 597"/>
              <a:gd name="T93" fmla="*/ 297 h 1110"/>
              <a:gd name="T94" fmla="*/ 8 w 597"/>
              <a:gd name="T95" fmla="*/ 297 h 1110"/>
              <a:gd name="T96" fmla="*/ 18 w 597"/>
              <a:gd name="T97" fmla="*/ 230 h 1110"/>
              <a:gd name="T98" fmla="*/ 18 w 597"/>
              <a:gd name="T99" fmla="*/ 183 h 1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97" h="1110">
                <a:moveTo>
                  <a:pt x="26" y="103"/>
                </a:moveTo>
                <a:lnTo>
                  <a:pt x="41" y="111"/>
                </a:lnTo>
                <a:lnTo>
                  <a:pt x="44" y="132"/>
                </a:lnTo>
                <a:lnTo>
                  <a:pt x="52" y="147"/>
                </a:lnTo>
                <a:lnTo>
                  <a:pt x="57" y="165"/>
                </a:lnTo>
                <a:lnTo>
                  <a:pt x="70" y="173"/>
                </a:lnTo>
                <a:lnTo>
                  <a:pt x="88" y="173"/>
                </a:lnTo>
                <a:lnTo>
                  <a:pt x="101" y="173"/>
                </a:lnTo>
                <a:lnTo>
                  <a:pt x="113" y="183"/>
                </a:lnTo>
                <a:lnTo>
                  <a:pt x="131" y="183"/>
                </a:lnTo>
                <a:lnTo>
                  <a:pt x="160" y="173"/>
                </a:lnTo>
                <a:lnTo>
                  <a:pt x="178" y="173"/>
                </a:lnTo>
                <a:lnTo>
                  <a:pt x="191" y="158"/>
                </a:lnTo>
                <a:lnTo>
                  <a:pt x="209" y="147"/>
                </a:lnTo>
                <a:lnTo>
                  <a:pt x="234" y="147"/>
                </a:lnTo>
                <a:lnTo>
                  <a:pt x="245" y="147"/>
                </a:lnTo>
                <a:lnTo>
                  <a:pt x="258" y="124"/>
                </a:lnTo>
                <a:lnTo>
                  <a:pt x="270" y="106"/>
                </a:lnTo>
                <a:lnTo>
                  <a:pt x="283" y="91"/>
                </a:lnTo>
                <a:lnTo>
                  <a:pt x="304" y="83"/>
                </a:lnTo>
                <a:lnTo>
                  <a:pt x="317" y="65"/>
                </a:lnTo>
                <a:lnTo>
                  <a:pt x="327" y="57"/>
                </a:lnTo>
                <a:lnTo>
                  <a:pt x="348" y="49"/>
                </a:lnTo>
                <a:lnTo>
                  <a:pt x="361" y="49"/>
                </a:lnTo>
                <a:lnTo>
                  <a:pt x="379" y="34"/>
                </a:lnTo>
                <a:lnTo>
                  <a:pt x="379" y="16"/>
                </a:lnTo>
                <a:lnTo>
                  <a:pt x="391" y="0"/>
                </a:lnTo>
                <a:lnTo>
                  <a:pt x="404" y="0"/>
                </a:lnTo>
                <a:lnTo>
                  <a:pt x="417" y="8"/>
                </a:lnTo>
                <a:lnTo>
                  <a:pt x="422" y="26"/>
                </a:lnTo>
                <a:lnTo>
                  <a:pt x="428" y="42"/>
                </a:lnTo>
                <a:lnTo>
                  <a:pt x="443" y="34"/>
                </a:lnTo>
                <a:lnTo>
                  <a:pt x="453" y="34"/>
                </a:lnTo>
                <a:lnTo>
                  <a:pt x="466" y="42"/>
                </a:lnTo>
                <a:lnTo>
                  <a:pt x="474" y="57"/>
                </a:lnTo>
                <a:lnTo>
                  <a:pt x="487" y="57"/>
                </a:lnTo>
                <a:lnTo>
                  <a:pt x="505" y="57"/>
                </a:lnTo>
                <a:lnTo>
                  <a:pt x="518" y="65"/>
                </a:lnTo>
                <a:lnTo>
                  <a:pt x="510" y="83"/>
                </a:lnTo>
                <a:lnTo>
                  <a:pt x="497" y="98"/>
                </a:lnTo>
                <a:lnTo>
                  <a:pt x="510" y="106"/>
                </a:lnTo>
                <a:lnTo>
                  <a:pt x="531" y="116"/>
                </a:lnTo>
                <a:lnTo>
                  <a:pt x="531" y="132"/>
                </a:lnTo>
                <a:lnTo>
                  <a:pt x="518" y="147"/>
                </a:lnTo>
                <a:lnTo>
                  <a:pt x="523" y="165"/>
                </a:lnTo>
                <a:lnTo>
                  <a:pt x="536" y="173"/>
                </a:lnTo>
                <a:lnTo>
                  <a:pt x="549" y="183"/>
                </a:lnTo>
                <a:lnTo>
                  <a:pt x="561" y="188"/>
                </a:lnTo>
                <a:lnTo>
                  <a:pt x="561" y="206"/>
                </a:lnTo>
                <a:lnTo>
                  <a:pt x="549" y="214"/>
                </a:lnTo>
                <a:lnTo>
                  <a:pt x="554" y="230"/>
                </a:lnTo>
                <a:lnTo>
                  <a:pt x="561" y="248"/>
                </a:lnTo>
                <a:lnTo>
                  <a:pt x="574" y="266"/>
                </a:lnTo>
                <a:lnTo>
                  <a:pt x="574" y="289"/>
                </a:lnTo>
                <a:lnTo>
                  <a:pt x="574" y="304"/>
                </a:lnTo>
                <a:lnTo>
                  <a:pt x="579" y="322"/>
                </a:lnTo>
                <a:lnTo>
                  <a:pt x="592" y="340"/>
                </a:lnTo>
                <a:lnTo>
                  <a:pt x="597" y="356"/>
                </a:lnTo>
                <a:lnTo>
                  <a:pt x="592" y="371"/>
                </a:lnTo>
                <a:lnTo>
                  <a:pt x="587" y="387"/>
                </a:lnTo>
                <a:lnTo>
                  <a:pt x="579" y="405"/>
                </a:lnTo>
                <a:lnTo>
                  <a:pt x="574" y="420"/>
                </a:lnTo>
                <a:lnTo>
                  <a:pt x="561" y="420"/>
                </a:lnTo>
                <a:lnTo>
                  <a:pt x="541" y="430"/>
                </a:lnTo>
                <a:lnTo>
                  <a:pt x="531" y="446"/>
                </a:lnTo>
                <a:lnTo>
                  <a:pt x="523" y="464"/>
                </a:lnTo>
                <a:lnTo>
                  <a:pt x="518" y="479"/>
                </a:lnTo>
                <a:lnTo>
                  <a:pt x="518" y="495"/>
                </a:lnTo>
                <a:lnTo>
                  <a:pt x="523" y="513"/>
                </a:lnTo>
                <a:lnTo>
                  <a:pt x="531" y="528"/>
                </a:lnTo>
                <a:lnTo>
                  <a:pt x="541" y="539"/>
                </a:lnTo>
                <a:lnTo>
                  <a:pt x="549" y="554"/>
                </a:lnTo>
                <a:lnTo>
                  <a:pt x="549" y="580"/>
                </a:lnTo>
                <a:lnTo>
                  <a:pt x="536" y="595"/>
                </a:lnTo>
                <a:lnTo>
                  <a:pt x="531" y="613"/>
                </a:lnTo>
                <a:lnTo>
                  <a:pt x="541" y="629"/>
                </a:lnTo>
                <a:lnTo>
                  <a:pt x="541" y="644"/>
                </a:lnTo>
                <a:lnTo>
                  <a:pt x="536" y="662"/>
                </a:lnTo>
                <a:lnTo>
                  <a:pt x="531" y="678"/>
                </a:lnTo>
                <a:lnTo>
                  <a:pt x="523" y="693"/>
                </a:lnTo>
                <a:lnTo>
                  <a:pt x="523" y="711"/>
                </a:lnTo>
                <a:lnTo>
                  <a:pt x="523" y="726"/>
                </a:lnTo>
                <a:lnTo>
                  <a:pt x="518" y="752"/>
                </a:lnTo>
                <a:lnTo>
                  <a:pt x="518" y="768"/>
                </a:lnTo>
                <a:lnTo>
                  <a:pt x="518" y="786"/>
                </a:lnTo>
                <a:lnTo>
                  <a:pt x="518" y="801"/>
                </a:lnTo>
                <a:lnTo>
                  <a:pt x="505" y="819"/>
                </a:lnTo>
                <a:lnTo>
                  <a:pt x="510" y="835"/>
                </a:lnTo>
                <a:lnTo>
                  <a:pt x="510" y="850"/>
                </a:lnTo>
                <a:lnTo>
                  <a:pt x="497" y="868"/>
                </a:lnTo>
                <a:lnTo>
                  <a:pt x="497" y="884"/>
                </a:lnTo>
                <a:lnTo>
                  <a:pt x="497" y="902"/>
                </a:lnTo>
                <a:lnTo>
                  <a:pt x="505" y="917"/>
                </a:lnTo>
                <a:lnTo>
                  <a:pt x="492" y="925"/>
                </a:lnTo>
                <a:lnTo>
                  <a:pt x="487" y="943"/>
                </a:lnTo>
                <a:lnTo>
                  <a:pt x="479" y="961"/>
                </a:lnTo>
                <a:lnTo>
                  <a:pt x="479" y="976"/>
                </a:lnTo>
                <a:lnTo>
                  <a:pt x="471" y="1005"/>
                </a:lnTo>
                <a:lnTo>
                  <a:pt x="464" y="1010"/>
                </a:lnTo>
                <a:lnTo>
                  <a:pt x="456" y="1025"/>
                </a:lnTo>
                <a:lnTo>
                  <a:pt x="451" y="1025"/>
                </a:lnTo>
                <a:lnTo>
                  <a:pt x="448" y="1007"/>
                </a:lnTo>
                <a:lnTo>
                  <a:pt x="435" y="1012"/>
                </a:lnTo>
                <a:lnTo>
                  <a:pt x="422" y="999"/>
                </a:lnTo>
                <a:lnTo>
                  <a:pt x="409" y="984"/>
                </a:lnTo>
                <a:lnTo>
                  <a:pt x="397" y="976"/>
                </a:lnTo>
                <a:lnTo>
                  <a:pt x="386" y="968"/>
                </a:lnTo>
                <a:lnTo>
                  <a:pt x="371" y="961"/>
                </a:lnTo>
                <a:lnTo>
                  <a:pt x="361" y="961"/>
                </a:lnTo>
                <a:lnTo>
                  <a:pt x="348" y="961"/>
                </a:lnTo>
                <a:lnTo>
                  <a:pt x="335" y="968"/>
                </a:lnTo>
                <a:lnTo>
                  <a:pt x="322" y="961"/>
                </a:lnTo>
                <a:lnTo>
                  <a:pt x="309" y="961"/>
                </a:lnTo>
                <a:lnTo>
                  <a:pt x="296" y="976"/>
                </a:lnTo>
                <a:lnTo>
                  <a:pt x="283" y="976"/>
                </a:lnTo>
                <a:lnTo>
                  <a:pt x="278" y="992"/>
                </a:lnTo>
                <a:lnTo>
                  <a:pt x="278" y="1007"/>
                </a:lnTo>
                <a:lnTo>
                  <a:pt x="278" y="1025"/>
                </a:lnTo>
                <a:lnTo>
                  <a:pt x="278" y="1041"/>
                </a:lnTo>
                <a:lnTo>
                  <a:pt x="270" y="1059"/>
                </a:lnTo>
                <a:lnTo>
                  <a:pt x="258" y="1074"/>
                </a:lnTo>
                <a:lnTo>
                  <a:pt x="245" y="1082"/>
                </a:lnTo>
                <a:lnTo>
                  <a:pt x="234" y="1092"/>
                </a:lnTo>
                <a:lnTo>
                  <a:pt x="219" y="1110"/>
                </a:lnTo>
                <a:lnTo>
                  <a:pt x="209" y="1108"/>
                </a:lnTo>
                <a:lnTo>
                  <a:pt x="196" y="1108"/>
                </a:lnTo>
                <a:lnTo>
                  <a:pt x="183" y="1092"/>
                </a:lnTo>
                <a:lnTo>
                  <a:pt x="170" y="1082"/>
                </a:lnTo>
                <a:lnTo>
                  <a:pt x="160" y="1082"/>
                </a:lnTo>
                <a:lnTo>
                  <a:pt x="144" y="1092"/>
                </a:lnTo>
                <a:lnTo>
                  <a:pt x="139" y="1108"/>
                </a:lnTo>
                <a:lnTo>
                  <a:pt x="126" y="1100"/>
                </a:lnTo>
                <a:lnTo>
                  <a:pt x="119" y="1082"/>
                </a:lnTo>
                <a:lnTo>
                  <a:pt x="119" y="1066"/>
                </a:lnTo>
                <a:lnTo>
                  <a:pt x="108" y="1059"/>
                </a:lnTo>
                <a:lnTo>
                  <a:pt x="108" y="1041"/>
                </a:lnTo>
                <a:lnTo>
                  <a:pt x="101" y="1025"/>
                </a:lnTo>
                <a:lnTo>
                  <a:pt x="95" y="1007"/>
                </a:lnTo>
                <a:lnTo>
                  <a:pt x="82" y="992"/>
                </a:lnTo>
                <a:lnTo>
                  <a:pt x="70" y="984"/>
                </a:lnTo>
                <a:lnTo>
                  <a:pt x="64" y="968"/>
                </a:lnTo>
                <a:lnTo>
                  <a:pt x="57" y="950"/>
                </a:lnTo>
                <a:lnTo>
                  <a:pt x="52" y="935"/>
                </a:lnTo>
                <a:lnTo>
                  <a:pt x="64" y="925"/>
                </a:lnTo>
                <a:lnTo>
                  <a:pt x="77" y="909"/>
                </a:lnTo>
                <a:lnTo>
                  <a:pt x="64" y="891"/>
                </a:lnTo>
                <a:lnTo>
                  <a:pt x="52" y="876"/>
                </a:lnTo>
                <a:lnTo>
                  <a:pt x="57" y="860"/>
                </a:lnTo>
                <a:lnTo>
                  <a:pt x="70" y="850"/>
                </a:lnTo>
                <a:lnTo>
                  <a:pt x="57" y="835"/>
                </a:lnTo>
                <a:lnTo>
                  <a:pt x="64" y="819"/>
                </a:lnTo>
                <a:lnTo>
                  <a:pt x="77" y="801"/>
                </a:lnTo>
                <a:lnTo>
                  <a:pt x="82" y="786"/>
                </a:lnTo>
                <a:lnTo>
                  <a:pt x="95" y="768"/>
                </a:lnTo>
                <a:lnTo>
                  <a:pt x="88" y="752"/>
                </a:lnTo>
                <a:lnTo>
                  <a:pt x="88" y="734"/>
                </a:lnTo>
                <a:lnTo>
                  <a:pt x="88" y="719"/>
                </a:lnTo>
                <a:lnTo>
                  <a:pt x="88" y="703"/>
                </a:lnTo>
                <a:lnTo>
                  <a:pt x="95" y="685"/>
                </a:lnTo>
                <a:lnTo>
                  <a:pt x="108" y="703"/>
                </a:lnTo>
                <a:lnTo>
                  <a:pt x="113" y="685"/>
                </a:lnTo>
                <a:lnTo>
                  <a:pt x="113" y="670"/>
                </a:lnTo>
                <a:lnTo>
                  <a:pt x="119" y="652"/>
                </a:lnTo>
                <a:lnTo>
                  <a:pt x="119" y="636"/>
                </a:lnTo>
                <a:lnTo>
                  <a:pt x="113" y="618"/>
                </a:lnTo>
                <a:lnTo>
                  <a:pt x="101" y="618"/>
                </a:lnTo>
                <a:lnTo>
                  <a:pt x="88" y="618"/>
                </a:lnTo>
                <a:lnTo>
                  <a:pt x="82" y="603"/>
                </a:lnTo>
                <a:lnTo>
                  <a:pt x="82" y="587"/>
                </a:lnTo>
                <a:lnTo>
                  <a:pt x="82" y="569"/>
                </a:lnTo>
                <a:lnTo>
                  <a:pt x="82" y="554"/>
                </a:lnTo>
                <a:lnTo>
                  <a:pt x="95" y="546"/>
                </a:lnTo>
                <a:lnTo>
                  <a:pt x="108" y="528"/>
                </a:lnTo>
                <a:lnTo>
                  <a:pt x="108" y="505"/>
                </a:lnTo>
                <a:lnTo>
                  <a:pt x="101" y="487"/>
                </a:lnTo>
                <a:lnTo>
                  <a:pt x="108" y="472"/>
                </a:lnTo>
                <a:lnTo>
                  <a:pt x="113" y="454"/>
                </a:lnTo>
                <a:lnTo>
                  <a:pt x="108" y="438"/>
                </a:lnTo>
                <a:lnTo>
                  <a:pt x="101" y="420"/>
                </a:lnTo>
                <a:lnTo>
                  <a:pt x="88" y="412"/>
                </a:lnTo>
                <a:lnTo>
                  <a:pt x="82" y="397"/>
                </a:lnTo>
                <a:lnTo>
                  <a:pt x="82" y="371"/>
                </a:lnTo>
                <a:lnTo>
                  <a:pt x="82" y="356"/>
                </a:lnTo>
                <a:lnTo>
                  <a:pt x="77" y="340"/>
                </a:lnTo>
                <a:lnTo>
                  <a:pt x="70" y="322"/>
                </a:lnTo>
                <a:lnTo>
                  <a:pt x="64" y="304"/>
                </a:lnTo>
                <a:lnTo>
                  <a:pt x="52" y="297"/>
                </a:lnTo>
                <a:lnTo>
                  <a:pt x="39" y="297"/>
                </a:lnTo>
                <a:lnTo>
                  <a:pt x="26" y="297"/>
                </a:lnTo>
                <a:lnTo>
                  <a:pt x="26" y="281"/>
                </a:lnTo>
                <a:lnTo>
                  <a:pt x="13" y="281"/>
                </a:lnTo>
                <a:lnTo>
                  <a:pt x="8" y="297"/>
                </a:lnTo>
                <a:lnTo>
                  <a:pt x="0" y="281"/>
                </a:lnTo>
                <a:lnTo>
                  <a:pt x="8" y="266"/>
                </a:lnTo>
                <a:lnTo>
                  <a:pt x="18" y="248"/>
                </a:lnTo>
                <a:lnTo>
                  <a:pt x="18" y="230"/>
                </a:lnTo>
                <a:lnTo>
                  <a:pt x="8" y="230"/>
                </a:lnTo>
                <a:lnTo>
                  <a:pt x="8" y="214"/>
                </a:lnTo>
                <a:lnTo>
                  <a:pt x="13" y="199"/>
                </a:lnTo>
                <a:lnTo>
                  <a:pt x="18" y="183"/>
                </a:lnTo>
                <a:lnTo>
                  <a:pt x="26" y="103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Ovale 175">
            <a:extLst>
              <a:ext uri="{FF2B5EF4-FFF2-40B4-BE49-F238E27FC236}">
                <a16:creationId xmlns:a16="http://schemas.microsoft.com/office/drawing/2014/main" id="{B1EACACA-3BFD-C467-908B-F8A9AC5D6880}"/>
              </a:ext>
            </a:extLst>
          </p:cNvPr>
          <p:cNvSpPr/>
          <p:nvPr/>
        </p:nvSpPr>
        <p:spPr>
          <a:xfrm>
            <a:off x="7185977" y="4418833"/>
            <a:ext cx="477807" cy="50585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uppo 34">
            <a:extLst>
              <a:ext uri="{FF2B5EF4-FFF2-40B4-BE49-F238E27FC236}">
                <a16:creationId xmlns:a16="http://schemas.microsoft.com/office/drawing/2014/main" id="{08AE625C-C174-FFEB-9071-2B74591C03A8}"/>
              </a:ext>
            </a:extLst>
          </p:cNvPr>
          <p:cNvGrpSpPr/>
          <p:nvPr/>
        </p:nvGrpSpPr>
        <p:grpSpPr>
          <a:xfrm>
            <a:off x="-2366868" y="109681"/>
            <a:ext cx="14168500" cy="6588724"/>
            <a:chOff x="-2132361" y="694631"/>
            <a:chExt cx="7671309" cy="3905122"/>
          </a:xfrm>
          <a:solidFill>
            <a:srgbClr val="C7C7C7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387B8CD-0FBC-C17E-D892-1273A975D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804" y="2502558"/>
              <a:ext cx="358874" cy="282037"/>
            </a:xfrm>
            <a:custGeom>
              <a:avLst/>
              <a:gdLst>
                <a:gd name="T0" fmla="*/ 371 w 397"/>
                <a:gd name="T1" fmla="*/ 44 h 312"/>
                <a:gd name="T2" fmla="*/ 389 w 397"/>
                <a:gd name="T3" fmla="*/ 83 h 312"/>
                <a:gd name="T4" fmla="*/ 389 w 397"/>
                <a:gd name="T5" fmla="*/ 109 h 312"/>
                <a:gd name="T6" fmla="*/ 368 w 397"/>
                <a:gd name="T7" fmla="*/ 137 h 312"/>
                <a:gd name="T8" fmla="*/ 335 w 397"/>
                <a:gd name="T9" fmla="*/ 163 h 312"/>
                <a:gd name="T10" fmla="*/ 342 w 397"/>
                <a:gd name="T11" fmla="*/ 204 h 312"/>
                <a:gd name="T12" fmla="*/ 348 w 397"/>
                <a:gd name="T13" fmla="*/ 219 h 312"/>
                <a:gd name="T14" fmla="*/ 337 w 397"/>
                <a:gd name="T15" fmla="*/ 242 h 312"/>
                <a:gd name="T16" fmla="*/ 299 w 397"/>
                <a:gd name="T17" fmla="*/ 260 h 312"/>
                <a:gd name="T18" fmla="*/ 275 w 397"/>
                <a:gd name="T19" fmla="*/ 260 h 312"/>
                <a:gd name="T20" fmla="*/ 242 w 397"/>
                <a:gd name="T21" fmla="*/ 286 h 312"/>
                <a:gd name="T22" fmla="*/ 211 w 397"/>
                <a:gd name="T23" fmla="*/ 294 h 312"/>
                <a:gd name="T24" fmla="*/ 180 w 397"/>
                <a:gd name="T25" fmla="*/ 281 h 312"/>
                <a:gd name="T26" fmla="*/ 147 w 397"/>
                <a:gd name="T27" fmla="*/ 260 h 312"/>
                <a:gd name="T28" fmla="*/ 100 w 397"/>
                <a:gd name="T29" fmla="*/ 253 h 312"/>
                <a:gd name="T30" fmla="*/ 67 w 397"/>
                <a:gd name="T31" fmla="*/ 286 h 312"/>
                <a:gd name="T32" fmla="*/ 39 w 397"/>
                <a:gd name="T33" fmla="*/ 302 h 312"/>
                <a:gd name="T34" fmla="*/ 26 w 397"/>
                <a:gd name="T35" fmla="*/ 271 h 312"/>
                <a:gd name="T36" fmla="*/ 26 w 397"/>
                <a:gd name="T37" fmla="*/ 271 h 312"/>
                <a:gd name="T38" fmla="*/ 21 w 397"/>
                <a:gd name="T39" fmla="*/ 235 h 312"/>
                <a:gd name="T40" fmla="*/ 8 w 397"/>
                <a:gd name="T41" fmla="*/ 206 h 312"/>
                <a:gd name="T42" fmla="*/ 3 w 397"/>
                <a:gd name="T43" fmla="*/ 173 h 312"/>
                <a:gd name="T44" fmla="*/ 13 w 397"/>
                <a:gd name="T45" fmla="*/ 168 h 312"/>
                <a:gd name="T46" fmla="*/ 54 w 397"/>
                <a:gd name="T47" fmla="*/ 157 h 312"/>
                <a:gd name="T48" fmla="*/ 80 w 397"/>
                <a:gd name="T49" fmla="*/ 137 h 312"/>
                <a:gd name="T50" fmla="*/ 108 w 397"/>
                <a:gd name="T51" fmla="*/ 96 h 312"/>
                <a:gd name="T52" fmla="*/ 160 w 397"/>
                <a:gd name="T53" fmla="*/ 109 h 312"/>
                <a:gd name="T54" fmla="*/ 198 w 397"/>
                <a:gd name="T55" fmla="*/ 119 h 312"/>
                <a:gd name="T56" fmla="*/ 214 w 397"/>
                <a:gd name="T57" fmla="*/ 75 h 312"/>
                <a:gd name="T58" fmla="*/ 237 w 397"/>
                <a:gd name="T59" fmla="*/ 26 h 312"/>
                <a:gd name="T60" fmla="*/ 250 w 397"/>
                <a:gd name="T61" fmla="*/ 0 h 312"/>
                <a:gd name="T62" fmla="*/ 278 w 397"/>
                <a:gd name="T63" fmla="*/ 13 h 312"/>
                <a:gd name="T64" fmla="*/ 327 w 397"/>
                <a:gd name="T65" fmla="*/ 21 h 312"/>
                <a:gd name="T66" fmla="*/ 366 w 397"/>
                <a:gd name="T67" fmla="*/ 2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97" h="312">
                  <a:moveTo>
                    <a:pt x="363" y="31"/>
                  </a:moveTo>
                  <a:lnTo>
                    <a:pt x="371" y="44"/>
                  </a:lnTo>
                  <a:lnTo>
                    <a:pt x="381" y="67"/>
                  </a:lnTo>
                  <a:lnTo>
                    <a:pt x="389" y="83"/>
                  </a:lnTo>
                  <a:lnTo>
                    <a:pt x="397" y="96"/>
                  </a:lnTo>
                  <a:lnTo>
                    <a:pt x="389" y="109"/>
                  </a:lnTo>
                  <a:lnTo>
                    <a:pt x="389" y="129"/>
                  </a:lnTo>
                  <a:lnTo>
                    <a:pt x="368" y="137"/>
                  </a:lnTo>
                  <a:lnTo>
                    <a:pt x="350" y="147"/>
                  </a:lnTo>
                  <a:lnTo>
                    <a:pt x="335" y="163"/>
                  </a:lnTo>
                  <a:lnTo>
                    <a:pt x="342" y="178"/>
                  </a:lnTo>
                  <a:lnTo>
                    <a:pt x="342" y="204"/>
                  </a:lnTo>
                  <a:lnTo>
                    <a:pt x="348" y="219"/>
                  </a:lnTo>
                  <a:lnTo>
                    <a:pt x="348" y="219"/>
                  </a:lnTo>
                  <a:lnTo>
                    <a:pt x="348" y="219"/>
                  </a:lnTo>
                  <a:lnTo>
                    <a:pt x="337" y="242"/>
                  </a:lnTo>
                  <a:lnTo>
                    <a:pt x="322" y="260"/>
                  </a:lnTo>
                  <a:lnTo>
                    <a:pt x="299" y="260"/>
                  </a:lnTo>
                  <a:lnTo>
                    <a:pt x="291" y="245"/>
                  </a:lnTo>
                  <a:lnTo>
                    <a:pt x="275" y="260"/>
                  </a:lnTo>
                  <a:lnTo>
                    <a:pt x="260" y="278"/>
                  </a:lnTo>
                  <a:lnTo>
                    <a:pt x="242" y="286"/>
                  </a:lnTo>
                  <a:lnTo>
                    <a:pt x="227" y="304"/>
                  </a:lnTo>
                  <a:lnTo>
                    <a:pt x="211" y="294"/>
                  </a:lnTo>
                  <a:lnTo>
                    <a:pt x="196" y="291"/>
                  </a:lnTo>
                  <a:lnTo>
                    <a:pt x="180" y="281"/>
                  </a:lnTo>
                  <a:lnTo>
                    <a:pt x="162" y="271"/>
                  </a:lnTo>
                  <a:lnTo>
                    <a:pt x="147" y="260"/>
                  </a:lnTo>
                  <a:lnTo>
                    <a:pt x="121" y="253"/>
                  </a:lnTo>
                  <a:lnTo>
                    <a:pt x="100" y="253"/>
                  </a:lnTo>
                  <a:lnTo>
                    <a:pt x="80" y="263"/>
                  </a:lnTo>
                  <a:lnTo>
                    <a:pt x="67" y="286"/>
                  </a:lnTo>
                  <a:lnTo>
                    <a:pt x="57" y="312"/>
                  </a:lnTo>
                  <a:lnTo>
                    <a:pt x="39" y="302"/>
                  </a:lnTo>
                  <a:lnTo>
                    <a:pt x="33" y="286"/>
                  </a:lnTo>
                  <a:lnTo>
                    <a:pt x="26" y="271"/>
                  </a:lnTo>
                  <a:lnTo>
                    <a:pt x="26" y="271"/>
                  </a:lnTo>
                  <a:lnTo>
                    <a:pt x="26" y="271"/>
                  </a:lnTo>
                  <a:lnTo>
                    <a:pt x="21" y="255"/>
                  </a:lnTo>
                  <a:lnTo>
                    <a:pt x="21" y="235"/>
                  </a:lnTo>
                  <a:lnTo>
                    <a:pt x="15" y="222"/>
                  </a:lnTo>
                  <a:lnTo>
                    <a:pt x="8" y="206"/>
                  </a:lnTo>
                  <a:lnTo>
                    <a:pt x="0" y="191"/>
                  </a:lnTo>
                  <a:lnTo>
                    <a:pt x="3" y="173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36" y="168"/>
                  </a:lnTo>
                  <a:lnTo>
                    <a:pt x="54" y="157"/>
                  </a:lnTo>
                  <a:lnTo>
                    <a:pt x="77" y="155"/>
                  </a:lnTo>
                  <a:lnTo>
                    <a:pt x="80" y="137"/>
                  </a:lnTo>
                  <a:lnTo>
                    <a:pt x="93" y="114"/>
                  </a:lnTo>
                  <a:lnTo>
                    <a:pt x="108" y="96"/>
                  </a:lnTo>
                  <a:lnTo>
                    <a:pt x="134" y="101"/>
                  </a:lnTo>
                  <a:lnTo>
                    <a:pt x="160" y="109"/>
                  </a:lnTo>
                  <a:lnTo>
                    <a:pt x="185" y="114"/>
                  </a:lnTo>
                  <a:lnTo>
                    <a:pt x="198" y="119"/>
                  </a:lnTo>
                  <a:lnTo>
                    <a:pt x="201" y="98"/>
                  </a:lnTo>
                  <a:lnTo>
                    <a:pt x="214" y="75"/>
                  </a:lnTo>
                  <a:lnTo>
                    <a:pt x="224" y="49"/>
                  </a:lnTo>
                  <a:lnTo>
                    <a:pt x="237" y="26"/>
                  </a:lnTo>
                  <a:lnTo>
                    <a:pt x="252" y="8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78" y="13"/>
                  </a:lnTo>
                  <a:lnTo>
                    <a:pt x="301" y="13"/>
                  </a:lnTo>
                  <a:lnTo>
                    <a:pt x="327" y="21"/>
                  </a:lnTo>
                  <a:lnTo>
                    <a:pt x="353" y="29"/>
                  </a:lnTo>
                  <a:lnTo>
                    <a:pt x="366" y="29"/>
                  </a:lnTo>
                  <a:lnTo>
                    <a:pt x="363" y="3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F9A4CD9-55EB-7E16-6439-7C898AE10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632" y="2491710"/>
              <a:ext cx="1098316" cy="695148"/>
            </a:xfrm>
            <a:custGeom>
              <a:avLst/>
              <a:gdLst>
                <a:gd name="T0" fmla="*/ 46 w 1215"/>
                <a:gd name="T1" fmla="*/ 79 h 769"/>
                <a:gd name="T2" fmla="*/ 54 w 1215"/>
                <a:gd name="T3" fmla="*/ 121 h 769"/>
                <a:gd name="T4" fmla="*/ 15 w 1215"/>
                <a:gd name="T5" fmla="*/ 157 h 769"/>
                <a:gd name="T6" fmla="*/ 7 w 1215"/>
                <a:gd name="T7" fmla="*/ 216 h 769"/>
                <a:gd name="T8" fmla="*/ 18 w 1215"/>
                <a:gd name="T9" fmla="*/ 236 h 769"/>
                <a:gd name="T10" fmla="*/ 31 w 1215"/>
                <a:gd name="T11" fmla="*/ 267 h 769"/>
                <a:gd name="T12" fmla="*/ 69 w 1215"/>
                <a:gd name="T13" fmla="*/ 324 h 769"/>
                <a:gd name="T14" fmla="*/ 100 w 1215"/>
                <a:gd name="T15" fmla="*/ 368 h 769"/>
                <a:gd name="T16" fmla="*/ 162 w 1215"/>
                <a:gd name="T17" fmla="*/ 375 h 769"/>
                <a:gd name="T18" fmla="*/ 224 w 1215"/>
                <a:gd name="T19" fmla="*/ 386 h 769"/>
                <a:gd name="T20" fmla="*/ 260 w 1215"/>
                <a:gd name="T21" fmla="*/ 368 h 769"/>
                <a:gd name="T22" fmla="*/ 324 w 1215"/>
                <a:gd name="T23" fmla="*/ 355 h 769"/>
                <a:gd name="T24" fmla="*/ 355 w 1215"/>
                <a:gd name="T25" fmla="*/ 396 h 769"/>
                <a:gd name="T26" fmla="*/ 407 w 1215"/>
                <a:gd name="T27" fmla="*/ 435 h 769"/>
                <a:gd name="T28" fmla="*/ 453 w 1215"/>
                <a:gd name="T29" fmla="*/ 460 h 769"/>
                <a:gd name="T30" fmla="*/ 499 w 1215"/>
                <a:gd name="T31" fmla="*/ 484 h 769"/>
                <a:gd name="T32" fmla="*/ 561 w 1215"/>
                <a:gd name="T33" fmla="*/ 471 h 769"/>
                <a:gd name="T34" fmla="*/ 597 w 1215"/>
                <a:gd name="T35" fmla="*/ 520 h 769"/>
                <a:gd name="T36" fmla="*/ 607 w 1215"/>
                <a:gd name="T37" fmla="*/ 569 h 769"/>
                <a:gd name="T38" fmla="*/ 664 w 1215"/>
                <a:gd name="T39" fmla="*/ 589 h 769"/>
                <a:gd name="T40" fmla="*/ 682 w 1215"/>
                <a:gd name="T41" fmla="*/ 579 h 769"/>
                <a:gd name="T42" fmla="*/ 728 w 1215"/>
                <a:gd name="T43" fmla="*/ 530 h 769"/>
                <a:gd name="T44" fmla="*/ 782 w 1215"/>
                <a:gd name="T45" fmla="*/ 548 h 769"/>
                <a:gd name="T46" fmla="*/ 803 w 1215"/>
                <a:gd name="T47" fmla="*/ 587 h 769"/>
                <a:gd name="T48" fmla="*/ 867 w 1215"/>
                <a:gd name="T49" fmla="*/ 602 h 769"/>
                <a:gd name="T50" fmla="*/ 942 w 1215"/>
                <a:gd name="T51" fmla="*/ 592 h 769"/>
                <a:gd name="T52" fmla="*/ 1017 w 1215"/>
                <a:gd name="T53" fmla="*/ 602 h 769"/>
                <a:gd name="T54" fmla="*/ 1053 w 1215"/>
                <a:gd name="T55" fmla="*/ 659 h 769"/>
                <a:gd name="T56" fmla="*/ 1076 w 1215"/>
                <a:gd name="T57" fmla="*/ 702 h 769"/>
                <a:gd name="T58" fmla="*/ 1117 w 1215"/>
                <a:gd name="T59" fmla="*/ 746 h 769"/>
                <a:gd name="T60" fmla="*/ 1187 w 1215"/>
                <a:gd name="T61" fmla="*/ 769 h 769"/>
                <a:gd name="T62" fmla="*/ 1194 w 1215"/>
                <a:gd name="T63" fmla="*/ 710 h 769"/>
                <a:gd name="T64" fmla="*/ 1215 w 1215"/>
                <a:gd name="T65" fmla="*/ 656 h 769"/>
                <a:gd name="T66" fmla="*/ 1192 w 1215"/>
                <a:gd name="T67" fmla="*/ 602 h 769"/>
                <a:gd name="T68" fmla="*/ 1161 w 1215"/>
                <a:gd name="T69" fmla="*/ 561 h 769"/>
                <a:gd name="T70" fmla="*/ 1079 w 1215"/>
                <a:gd name="T71" fmla="*/ 509 h 769"/>
                <a:gd name="T72" fmla="*/ 1022 w 1215"/>
                <a:gd name="T73" fmla="*/ 463 h 769"/>
                <a:gd name="T74" fmla="*/ 960 w 1215"/>
                <a:gd name="T75" fmla="*/ 429 h 769"/>
                <a:gd name="T76" fmla="*/ 893 w 1215"/>
                <a:gd name="T77" fmla="*/ 406 h 769"/>
                <a:gd name="T78" fmla="*/ 837 w 1215"/>
                <a:gd name="T79" fmla="*/ 388 h 769"/>
                <a:gd name="T80" fmla="*/ 775 w 1215"/>
                <a:gd name="T81" fmla="*/ 352 h 769"/>
                <a:gd name="T82" fmla="*/ 692 w 1215"/>
                <a:gd name="T83" fmla="*/ 319 h 769"/>
                <a:gd name="T84" fmla="*/ 600 w 1215"/>
                <a:gd name="T85" fmla="*/ 298 h 769"/>
                <a:gd name="T86" fmla="*/ 533 w 1215"/>
                <a:gd name="T87" fmla="*/ 278 h 769"/>
                <a:gd name="T88" fmla="*/ 463 w 1215"/>
                <a:gd name="T89" fmla="*/ 254 h 769"/>
                <a:gd name="T90" fmla="*/ 373 w 1215"/>
                <a:gd name="T91" fmla="*/ 234 h 769"/>
                <a:gd name="T92" fmla="*/ 301 w 1215"/>
                <a:gd name="T93" fmla="*/ 206 h 769"/>
                <a:gd name="T94" fmla="*/ 296 w 1215"/>
                <a:gd name="T95" fmla="*/ 144 h 769"/>
                <a:gd name="T96" fmla="*/ 352 w 1215"/>
                <a:gd name="T97" fmla="*/ 90 h 769"/>
                <a:gd name="T98" fmla="*/ 368 w 1215"/>
                <a:gd name="T99" fmla="*/ 28 h 769"/>
                <a:gd name="T100" fmla="*/ 311 w 1215"/>
                <a:gd name="T101" fmla="*/ 0 h 769"/>
                <a:gd name="T102" fmla="*/ 249 w 1215"/>
                <a:gd name="T103" fmla="*/ 20 h 769"/>
                <a:gd name="T104" fmla="*/ 188 w 1215"/>
                <a:gd name="T105" fmla="*/ 33 h 769"/>
                <a:gd name="T106" fmla="*/ 134 w 1215"/>
                <a:gd name="T107" fmla="*/ 66 h 769"/>
                <a:gd name="T108" fmla="*/ 46 w 1215"/>
                <a:gd name="T109" fmla="*/ 54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15" h="769">
                  <a:moveTo>
                    <a:pt x="28" y="41"/>
                  </a:moveTo>
                  <a:lnTo>
                    <a:pt x="36" y="56"/>
                  </a:lnTo>
                  <a:lnTo>
                    <a:pt x="46" y="79"/>
                  </a:lnTo>
                  <a:lnTo>
                    <a:pt x="54" y="95"/>
                  </a:lnTo>
                  <a:lnTo>
                    <a:pt x="62" y="108"/>
                  </a:lnTo>
                  <a:lnTo>
                    <a:pt x="54" y="121"/>
                  </a:lnTo>
                  <a:lnTo>
                    <a:pt x="54" y="141"/>
                  </a:lnTo>
                  <a:lnTo>
                    <a:pt x="33" y="149"/>
                  </a:lnTo>
                  <a:lnTo>
                    <a:pt x="15" y="157"/>
                  </a:lnTo>
                  <a:lnTo>
                    <a:pt x="0" y="175"/>
                  </a:lnTo>
                  <a:lnTo>
                    <a:pt x="7" y="187"/>
                  </a:lnTo>
                  <a:lnTo>
                    <a:pt x="7" y="216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23" y="252"/>
                  </a:lnTo>
                  <a:lnTo>
                    <a:pt x="31" y="267"/>
                  </a:lnTo>
                  <a:lnTo>
                    <a:pt x="38" y="283"/>
                  </a:lnTo>
                  <a:lnTo>
                    <a:pt x="51" y="314"/>
                  </a:lnTo>
                  <a:lnTo>
                    <a:pt x="69" y="324"/>
                  </a:lnTo>
                  <a:lnTo>
                    <a:pt x="98" y="334"/>
                  </a:lnTo>
                  <a:lnTo>
                    <a:pt x="95" y="355"/>
                  </a:lnTo>
                  <a:lnTo>
                    <a:pt x="100" y="368"/>
                  </a:lnTo>
                  <a:lnTo>
                    <a:pt x="118" y="381"/>
                  </a:lnTo>
                  <a:lnTo>
                    <a:pt x="136" y="373"/>
                  </a:lnTo>
                  <a:lnTo>
                    <a:pt x="162" y="375"/>
                  </a:lnTo>
                  <a:lnTo>
                    <a:pt x="188" y="383"/>
                  </a:lnTo>
                  <a:lnTo>
                    <a:pt x="213" y="388"/>
                  </a:lnTo>
                  <a:lnTo>
                    <a:pt x="224" y="386"/>
                  </a:lnTo>
                  <a:lnTo>
                    <a:pt x="219" y="378"/>
                  </a:lnTo>
                  <a:lnTo>
                    <a:pt x="239" y="368"/>
                  </a:lnTo>
                  <a:lnTo>
                    <a:pt x="260" y="368"/>
                  </a:lnTo>
                  <a:lnTo>
                    <a:pt x="283" y="368"/>
                  </a:lnTo>
                  <a:lnTo>
                    <a:pt x="301" y="357"/>
                  </a:lnTo>
                  <a:lnTo>
                    <a:pt x="324" y="355"/>
                  </a:lnTo>
                  <a:lnTo>
                    <a:pt x="340" y="368"/>
                  </a:lnTo>
                  <a:lnTo>
                    <a:pt x="347" y="381"/>
                  </a:lnTo>
                  <a:lnTo>
                    <a:pt x="355" y="396"/>
                  </a:lnTo>
                  <a:lnTo>
                    <a:pt x="373" y="411"/>
                  </a:lnTo>
                  <a:lnTo>
                    <a:pt x="381" y="429"/>
                  </a:lnTo>
                  <a:lnTo>
                    <a:pt x="407" y="435"/>
                  </a:lnTo>
                  <a:lnTo>
                    <a:pt x="425" y="427"/>
                  </a:lnTo>
                  <a:lnTo>
                    <a:pt x="432" y="440"/>
                  </a:lnTo>
                  <a:lnTo>
                    <a:pt x="453" y="460"/>
                  </a:lnTo>
                  <a:lnTo>
                    <a:pt x="461" y="473"/>
                  </a:lnTo>
                  <a:lnTo>
                    <a:pt x="476" y="484"/>
                  </a:lnTo>
                  <a:lnTo>
                    <a:pt x="499" y="484"/>
                  </a:lnTo>
                  <a:lnTo>
                    <a:pt x="522" y="481"/>
                  </a:lnTo>
                  <a:lnTo>
                    <a:pt x="540" y="473"/>
                  </a:lnTo>
                  <a:lnTo>
                    <a:pt x="561" y="471"/>
                  </a:lnTo>
                  <a:lnTo>
                    <a:pt x="579" y="481"/>
                  </a:lnTo>
                  <a:lnTo>
                    <a:pt x="589" y="504"/>
                  </a:lnTo>
                  <a:lnTo>
                    <a:pt x="597" y="520"/>
                  </a:lnTo>
                  <a:lnTo>
                    <a:pt x="594" y="538"/>
                  </a:lnTo>
                  <a:lnTo>
                    <a:pt x="600" y="553"/>
                  </a:lnTo>
                  <a:lnTo>
                    <a:pt x="607" y="569"/>
                  </a:lnTo>
                  <a:lnTo>
                    <a:pt x="615" y="584"/>
                  </a:lnTo>
                  <a:lnTo>
                    <a:pt x="638" y="581"/>
                  </a:lnTo>
                  <a:lnTo>
                    <a:pt x="664" y="589"/>
                  </a:lnTo>
                  <a:lnTo>
                    <a:pt x="664" y="589"/>
                  </a:lnTo>
                  <a:lnTo>
                    <a:pt x="667" y="594"/>
                  </a:lnTo>
                  <a:lnTo>
                    <a:pt x="682" y="579"/>
                  </a:lnTo>
                  <a:lnTo>
                    <a:pt x="695" y="556"/>
                  </a:lnTo>
                  <a:lnTo>
                    <a:pt x="710" y="538"/>
                  </a:lnTo>
                  <a:lnTo>
                    <a:pt x="728" y="530"/>
                  </a:lnTo>
                  <a:lnTo>
                    <a:pt x="752" y="527"/>
                  </a:lnTo>
                  <a:lnTo>
                    <a:pt x="767" y="538"/>
                  </a:lnTo>
                  <a:lnTo>
                    <a:pt x="782" y="548"/>
                  </a:lnTo>
                  <a:lnTo>
                    <a:pt x="782" y="569"/>
                  </a:lnTo>
                  <a:lnTo>
                    <a:pt x="788" y="584"/>
                  </a:lnTo>
                  <a:lnTo>
                    <a:pt x="803" y="587"/>
                  </a:lnTo>
                  <a:lnTo>
                    <a:pt x="824" y="584"/>
                  </a:lnTo>
                  <a:lnTo>
                    <a:pt x="842" y="597"/>
                  </a:lnTo>
                  <a:lnTo>
                    <a:pt x="867" y="602"/>
                  </a:lnTo>
                  <a:lnTo>
                    <a:pt x="898" y="594"/>
                  </a:lnTo>
                  <a:lnTo>
                    <a:pt x="921" y="594"/>
                  </a:lnTo>
                  <a:lnTo>
                    <a:pt x="942" y="592"/>
                  </a:lnTo>
                  <a:lnTo>
                    <a:pt x="965" y="592"/>
                  </a:lnTo>
                  <a:lnTo>
                    <a:pt x="991" y="597"/>
                  </a:lnTo>
                  <a:lnTo>
                    <a:pt x="1017" y="602"/>
                  </a:lnTo>
                  <a:lnTo>
                    <a:pt x="1027" y="625"/>
                  </a:lnTo>
                  <a:lnTo>
                    <a:pt x="1035" y="641"/>
                  </a:lnTo>
                  <a:lnTo>
                    <a:pt x="1053" y="659"/>
                  </a:lnTo>
                  <a:lnTo>
                    <a:pt x="1061" y="672"/>
                  </a:lnTo>
                  <a:lnTo>
                    <a:pt x="1068" y="687"/>
                  </a:lnTo>
                  <a:lnTo>
                    <a:pt x="1076" y="702"/>
                  </a:lnTo>
                  <a:lnTo>
                    <a:pt x="1081" y="718"/>
                  </a:lnTo>
                  <a:lnTo>
                    <a:pt x="1091" y="741"/>
                  </a:lnTo>
                  <a:lnTo>
                    <a:pt x="1117" y="746"/>
                  </a:lnTo>
                  <a:lnTo>
                    <a:pt x="1143" y="751"/>
                  </a:lnTo>
                  <a:lnTo>
                    <a:pt x="1161" y="762"/>
                  </a:lnTo>
                  <a:lnTo>
                    <a:pt x="1187" y="769"/>
                  </a:lnTo>
                  <a:lnTo>
                    <a:pt x="1197" y="744"/>
                  </a:lnTo>
                  <a:lnTo>
                    <a:pt x="1192" y="728"/>
                  </a:lnTo>
                  <a:lnTo>
                    <a:pt x="1194" y="710"/>
                  </a:lnTo>
                  <a:lnTo>
                    <a:pt x="1197" y="690"/>
                  </a:lnTo>
                  <a:lnTo>
                    <a:pt x="1200" y="672"/>
                  </a:lnTo>
                  <a:lnTo>
                    <a:pt x="1215" y="656"/>
                  </a:lnTo>
                  <a:lnTo>
                    <a:pt x="1207" y="641"/>
                  </a:lnTo>
                  <a:lnTo>
                    <a:pt x="1202" y="625"/>
                  </a:lnTo>
                  <a:lnTo>
                    <a:pt x="1192" y="602"/>
                  </a:lnTo>
                  <a:lnTo>
                    <a:pt x="1184" y="589"/>
                  </a:lnTo>
                  <a:lnTo>
                    <a:pt x="1179" y="574"/>
                  </a:lnTo>
                  <a:lnTo>
                    <a:pt x="1161" y="561"/>
                  </a:lnTo>
                  <a:lnTo>
                    <a:pt x="1140" y="543"/>
                  </a:lnTo>
                  <a:lnTo>
                    <a:pt x="1112" y="532"/>
                  </a:lnTo>
                  <a:lnTo>
                    <a:pt x="1079" y="509"/>
                  </a:lnTo>
                  <a:lnTo>
                    <a:pt x="1063" y="499"/>
                  </a:lnTo>
                  <a:lnTo>
                    <a:pt x="1045" y="491"/>
                  </a:lnTo>
                  <a:lnTo>
                    <a:pt x="1022" y="463"/>
                  </a:lnTo>
                  <a:lnTo>
                    <a:pt x="1006" y="455"/>
                  </a:lnTo>
                  <a:lnTo>
                    <a:pt x="986" y="435"/>
                  </a:lnTo>
                  <a:lnTo>
                    <a:pt x="960" y="429"/>
                  </a:lnTo>
                  <a:lnTo>
                    <a:pt x="945" y="419"/>
                  </a:lnTo>
                  <a:lnTo>
                    <a:pt x="919" y="411"/>
                  </a:lnTo>
                  <a:lnTo>
                    <a:pt x="893" y="406"/>
                  </a:lnTo>
                  <a:lnTo>
                    <a:pt x="875" y="396"/>
                  </a:lnTo>
                  <a:lnTo>
                    <a:pt x="852" y="399"/>
                  </a:lnTo>
                  <a:lnTo>
                    <a:pt x="837" y="388"/>
                  </a:lnTo>
                  <a:lnTo>
                    <a:pt x="811" y="383"/>
                  </a:lnTo>
                  <a:lnTo>
                    <a:pt x="793" y="363"/>
                  </a:lnTo>
                  <a:lnTo>
                    <a:pt x="775" y="352"/>
                  </a:lnTo>
                  <a:lnTo>
                    <a:pt x="746" y="339"/>
                  </a:lnTo>
                  <a:lnTo>
                    <a:pt x="721" y="334"/>
                  </a:lnTo>
                  <a:lnTo>
                    <a:pt x="692" y="319"/>
                  </a:lnTo>
                  <a:lnTo>
                    <a:pt x="654" y="319"/>
                  </a:lnTo>
                  <a:lnTo>
                    <a:pt x="631" y="314"/>
                  </a:lnTo>
                  <a:lnTo>
                    <a:pt x="600" y="298"/>
                  </a:lnTo>
                  <a:lnTo>
                    <a:pt x="574" y="293"/>
                  </a:lnTo>
                  <a:lnTo>
                    <a:pt x="558" y="283"/>
                  </a:lnTo>
                  <a:lnTo>
                    <a:pt x="533" y="278"/>
                  </a:lnTo>
                  <a:lnTo>
                    <a:pt x="507" y="272"/>
                  </a:lnTo>
                  <a:lnTo>
                    <a:pt x="479" y="265"/>
                  </a:lnTo>
                  <a:lnTo>
                    <a:pt x="463" y="254"/>
                  </a:lnTo>
                  <a:lnTo>
                    <a:pt x="427" y="254"/>
                  </a:lnTo>
                  <a:lnTo>
                    <a:pt x="407" y="234"/>
                  </a:lnTo>
                  <a:lnTo>
                    <a:pt x="373" y="234"/>
                  </a:lnTo>
                  <a:lnTo>
                    <a:pt x="358" y="224"/>
                  </a:lnTo>
                  <a:lnTo>
                    <a:pt x="329" y="216"/>
                  </a:lnTo>
                  <a:lnTo>
                    <a:pt x="301" y="206"/>
                  </a:lnTo>
                  <a:lnTo>
                    <a:pt x="293" y="190"/>
                  </a:lnTo>
                  <a:lnTo>
                    <a:pt x="286" y="167"/>
                  </a:lnTo>
                  <a:lnTo>
                    <a:pt x="296" y="144"/>
                  </a:lnTo>
                  <a:lnTo>
                    <a:pt x="311" y="126"/>
                  </a:lnTo>
                  <a:lnTo>
                    <a:pt x="337" y="105"/>
                  </a:lnTo>
                  <a:lnTo>
                    <a:pt x="352" y="90"/>
                  </a:lnTo>
                  <a:lnTo>
                    <a:pt x="365" y="64"/>
                  </a:lnTo>
                  <a:lnTo>
                    <a:pt x="376" y="43"/>
                  </a:lnTo>
                  <a:lnTo>
                    <a:pt x="368" y="28"/>
                  </a:lnTo>
                  <a:lnTo>
                    <a:pt x="352" y="15"/>
                  </a:lnTo>
                  <a:lnTo>
                    <a:pt x="337" y="7"/>
                  </a:lnTo>
                  <a:lnTo>
                    <a:pt x="311" y="0"/>
                  </a:lnTo>
                  <a:lnTo>
                    <a:pt x="293" y="7"/>
                  </a:lnTo>
                  <a:lnTo>
                    <a:pt x="267" y="12"/>
                  </a:lnTo>
                  <a:lnTo>
                    <a:pt x="249" y="20"/>
                  </a:lnTo>
                  <a:lnTo>
                    <a:pt x="231" y="28"/>
                  </a:lnTo>
                  <a:lnTo>
                    <a:pt x="211" y="38"/>
                  </a:lnTo>
                  <a:lnTo>
                    <a:pt x="188" y="33"/>
                  </a:lnTo>
                  <a:lnTo>
                    <a:pt x="170" y="48"/>
                  </a:lnTo>
                  <a:lnTo>
                    <a:pt x="152" y="56"/>
                  </a:lnTo>
                  <a:lnTo>
                    <a:pt x="134" y="66"/>
                  </a:lnTo>
                  <a:lnTo>
                    <a:pt x="110" y="66"/>
                  </a:lnTo>
                  <a:lnTo>
                    <a:pt x="90" y="69"/>
                  </a:lnTo>
                  <a:lnTo>
                    <a:pt x="46" y="54"/>
                  </a:lnTo>
                  <a:lnTo>
                    <a:pt x="28" y="41"/>
                  </a:lnTo>
                  <a:close/>
                </a:path>
              </a:pathLst>
            </a:custGeom>
            <a:solidFill>
              <a:srgbClr val="92D05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C87B8AD-96CD-4D25-1418-610DEF0B3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301" y="2700526"/>
              <a:ext cx="642718" cy="533338"/>
            </a:xfrm>
            <a:custGeom>
              <a:avLst/>
              <a:gdLst>
                <a:gd name="T0" fmla="*/ 363 w 711"/>
                <a:gd name="T1" fmla="*/ 23 h 590"/>
                <a:gd name="T2" fmla="*/ 325 w 711"/>
                <a:gd name="T3" fmla="*/ 41 h 590"/>
                <a:gd name="T4" fmla="*/ 301 w 711"/>
                <a:gd name="T5" fmla="*/ 44 h 590"/>
                <a:gd name="T6" fmla="*/ 268 w 711"/>
                <a:gd name="T7" fmla="*/ 70 h 590"/>
                <a:gd name="T8" fmla="*/ 235 w 711"/>
                <a:gd name="T9" fmla="*/ 75 h 590"/>
                <a:gd name="T10" fmla="*/ 204 w 711"/>
                <a:gd name="T11" fmla="*/ 62 h 590"/>
                <a:gd name="T12" fmla="*/ 173 w 711"/>
                <a:gd name="T13" fmla="*/ 41 h 590"/>
                <a:gd name="T14" fmla="*/ 124 w 711"/>
                <a:gd name="T15" fmla="*/ 36 h 590"/>
                <a:gd name="T16" fmla="*/ 93 w 711"/>
                <a:gd name="T17" fmla="*/ 70 h 590"/>
                <a:gd name="T18" fmla="*/ 65 w 711"/>
                <a:gd name="T19" fmla="*/ 83 h 590"/>
                <a:gd name="T20" fmla="*/ 52 w 711"/>
                <a:gd name="T21" fmla="*/ 52 h 590"/>
                <a:gd name="T22" fmla="*/ 49 w 711"/>
                <a:gd name="T23" fmla="*/ 44 h 590"/>
                <a:gd name="T24" fmla="*/ 39 w 711"/>
                <a:gd name="T25" fmla="*/ 49 h 590"/>
                <a:gd name="T26" fmla="*/ 26 w 711"/>
                <a:gd name="T27" fmla="*/ 72 h 590"/>
                <a:gd name="T28" fmla="*/ 39 w 711"/>
                <a:gd name="T29" fmla="*/ 103 h 590"/>
                <a:gd name="T30" fmla="*/ 34 w 711"/>
                <a:gd name="T31" fmla="*/ 142 h 590"/>
                <a:gd name="T32" fmla="*/ 0 w 711"/>
                <a:gd name="T33" fmla="*/ 168 h 590"/>
                <a:gd name="T34" fmla="*/ 3 w 711"/>
                <a:gd name="T35" fmla="*/ 175 h 590"/>
                <a:gd name="T36" fmla="*/ 31 w 711"/>
                <a:gd name="T37" fmla="*/ 206 h 590"/>
                <a:gd name="T38" fmla="*/ 80 w 711"/>
                <a:gd name="T39" fmla="*/ 265 h 590"/>
                <a:gd name="T40" fmla="*/ 108 w 711"/>
                <a:gd name="T41" fmla="*/ 299 h 590"/>
                <a:gd name="T42" fmla="*/ 139 w 711"/>
                <a:gd name="T43" fmla="*/ 320 h 590"/>
                <a:gd name="T44" fmla="*/ 178 w 711"/>
                <a:gd name="T45" fmla="*/ 301 h 590"/>
                <a:gd name="T46" fmla="*/ 211 w 711"/>
                <a:gd name="T47" fmla="*/ 322 h 590"/>
                <a:gd name="T48" fmla="*/ 253 w 711"/>
                <a:gd name="T49" fmla="*/ 340 h 590"/>
                <a:gd name="T50" fmla="*/ 245 w 711"/>
                <a:gd name="T51" fmla="*/ 371 h 590"/>
                <a:gd name="T52" fmla="*/ 211 w 711"/>
                <a:gd name="T53" fmla="*/ 394 h 590"/>
                <a:gd name="T54" fmla="*/ 237 w 711"/>
                <a:gd name="T55" fmla="*/ 402 h 590"/>
                <a:gd name="T56" fmla="*/ 273 w 711"/>
                <a:gd name="T57" fmla="*/ 384 h 590"/>
                <a:gd name="T58" fmla="*/ 317 w 711"/>
                <a:gd name="T59" fmla="*/ 381 h 590"/>
                <a:gd name="T60" fmla="*/ 358 w 711"/>
                <a:gd name="T61" fmla="*/ 371 h 590"/>
                <a:gd name="T62" fmla="*/ 402 w 711"/>
                <a:gd name="T63" fmla="*/ 415 h 590"/>
                <a:gd name="T64" fmla="*/ 433 w 711"/>
                <a:gd name="T65" fmla="*/ 456 h 590"/>
                <a:gd name="T66" fmla="*/ 435 w 711"/>
                <a:gd name="T67" fmla="*/ 489 h 590"/>
                <a:gd name="T68" fmla="*/ 441 w 711"/>
                <a:gd name="T69" fmla="*/ 520 h 590"/>
                <a:gd name="T70" fmla="*/ 482 w 711"/>
                <a:gd name="T71" fmla="*/ 541 h 590"/>
                <a:gd name="T72" fmla="*/ 525 w 711"/>
                <a:gd name="T73" fmla="*/ 551 h 590"/>
                <a:gd name="T74" fmla="*/ 562 w 711"/>
                <a:gd name="T75" fmla="*/ 569 h 590"/>
                <a:gd name="T76" fmla="*/ 585 w 711"/>
                <a:gd name="T77" fmla="*/ 590 h 590"/>
                <a:gd name="T78" fmla="*/ 641 w 711"/>
                <a:gd name="T79" fmla="*/ 577 h 590"/>
                <a:gd name="T80" fmla="*/ 667 w 711"/>
                <a:gd name="T81" fmla="*/ 567 h 590"/>
                <a:gd name="T82" fmla="*/ 675 w 711"/>
                <a:gd name="T83" fmla="*/ 546 h 590"/>
                <a:gd name="T84" fmla="*/ 693 w 711"/>
                <a:gd name="T85" fmla="*/ 513 h 590"/>
                <a:gd name="T86" fmla="*/ 703 w 711"/>
                <a:gd name="T87" fmla="*/ 489 h 590"/>
                <a:gd name="T88" fmla="*/ 672 w 711"/>
                <a:gd name="T89" fmla="*/ 466 h 590"/>
                <a:gd name="T90" fmla="*/ 659 w 711"/>
                <a:gd name="T91" fmla="*/ 438 h 590"/>
                <a:gd name="T92" fmla="*/ 610 w 711"/>
                <a:gd name="T93" fmla="*/ 407 h 590"/>
                <a:gd name="T94" fmla="*/ 580 w 711"/>
                <a:gd name="T95" fmla="*/ 366 h 590"/>
                <a:gd name="T96" fmla="*/ 554 w 711"/>
                <a:gd name="T97" fmla="*/ 332 h 590"/>
                <a:gd name="T98" fmla="*/ 528 w 711"/>
                <a:gd name="T99" fmla="*/ 281 h 590"/>
                <a:gd name="T100" fmla="*/ 525 w 711"/>
                <a:gd name="T101" fmla="*/ 245 h 590"/>
                <a:gd name="T102" fmla="*/ 559 w 711"/>
                <a:gd name="T103" fmla="*/ 222 h 590"/>
                <a:gd name="T104" fmla="*/ 577 w 711"/>
                <a:gd name="T105" fmla="*/ 186 h 590"/>
                <a:gd name="T106" fmla="*/ 580 w 711"/>
                <a:gd name="T107" fmla="*/ 165 h 590"/>
                <a:gd name="T108" fmla="*/ 549 w 711"/>
                <a:gd name="T109" fmla="*/ 155 h 590"/>
                <a:gd name="T110" fmla="*/ 497 w 711"/>
                <a:gd name="T111" fmla="*/ 142 h 590"/>
                <a:gd name="T112" fmla="*/ 461 w 711"/>
                <a:gd name="T113" fmla="*/ 139 h 590"/>
                <a:gd name="T114" fmla="*/ 459 w 711"/>
                <a:gd name="T115" fmla="*/ 106 h 590"/>
                <a:gd name="T116" fmla="*/ 412 w 711"/>
                <a:gd name="T117" fmla="*/ 83 h 590"/>
                <a:gd name="T118" fmla="*/ 392 w 711"/>
                <a:gd name="T119" fmla="*/ 36 h 590"/>
                <a:gd name="T120" fmla="*/ 379 w 711"/>
                <a:gd name="T121" fmla="*/ 5 h 590"/>
                <a:gd name="T122" fmla="*/ 374 w 711"/>
                <a:gd name="T123" fmla="*/ 0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1" h="590">
                  <a:moveTo>
                    <a:pt x="374" y="0"/>
                  </a:moveTo>
                  <a:lnTo>
                    <a:pt x="363" y="23"/>
                  </a:lnTo>
                  <a:lnTo>
                    <a:pt x="345" y="41"/>
                  </a:lnTo>
                  <a:lnTo>
                    <a:pt x="325" y="41"/>
                  </a:lnTo>
                  <a:lnTo>
                    <a:pt x="317" y="26"/>
                  </a:lnTo>
                  <a:lnTo>
                    <a:pt x="301" y="44"/>
                  </a:lnTo>
                  <a:lnTo>
                    <a:pt x="286" y="59"/>
                  </a:lnTo>
                  <a:lnTo>
                    <a:pt x="268" y="70"/>
                  </a:lnTo>
                  <a:lnTo>
                    <a:pt x="250" y="85"/>
                  </a:lnTo>
                  <a:lnTo>
                    <a:pt x="235" y="75"/>
                  </a:lnTo>
                  <a:lnTo>
                    <a:pt x="222" y="72"/>
                  </a:lnTo>
                  <a:lnTo>
                    <a:pt x="204" y="62"/>
                  </a:lnTo>
                  <a:lnTo>
                    <a:pt x="188" y="52"/>
                  </a:lnTo>
                  <a:lnTo>
                    <a:pt x="173" y="41"/>
                  </a:lnTo>
                  <a:lnTo>
                    <a:pt x="147" y="34"/>
                  </a:lnTo>
                  <a:lnTo>
                    <a:pt x="124" y="36"/>
                  </a:lnTo>
                  <a:lnTo>
                    <a:pt x="106" y="44"/>
                  </a:lnTo>
                  <a:lnTo>
                    <a:pt x="93" y="70"/>
                  </a:lnTo>
                  <a:lnTo>
                    <a:pt x="80" y="93"/>
                  </a:lnTo>
                  <a:lnTo>
                    <a:pt x="65" y="83"/>
                  </a:lnTo>
                  <a:lnTo>
                    <a:pt x="59" y="67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39" y="49"/>
                  </a:lnTo>
                  <a:lnTo>
                    <a:pt x="29" y="54"/>
                  </a:lnTo>
                  <a:lnTo>
                    <a:pt x="26" y="72"/>
                  </a:lnTo>
                  <a:lnTo>
                    <a:pt x="34" y="85"/>
                  </a:lnTo>
                  <a:lnTo>
                    <a:pt x="39" y="103"/>
                  </a:lnTo>
                  <a:lnTo>
                    <a:pt x="36" y="121"/>
                  </a:lnTo>
                  <a:lnTo>
                    <a:pt x="34" y="142"/>
                  </a:lnTo>
                  <a:lnTo>
                    <a:pt x="18" y="157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3" y="175"/>
                  </a:lnTo>
                  <a:lnTo>
                    <a:pt x="23" y="191"/>
                  </a:lnTo>
                  <a:lnTo>
                    <a:pt x="31" y="206"/>
                  </a:lnTo>
                  <a:lnTo>
                    <a:pt x="52" y="224"/>
                  </a:lnTo>
                  <a:lnTo>
                    <a:pt x="80" y="265"/>
                  </a:lnTo>
                  <a:lnTo>
                    <a:pt x="88" y="281"/>
                  </a:lnTo>
                  <a:lnTo>
                    <a:pt x="108" y="299"/>
                  </a:lnTo>
                  <a:lnTo>
                    <a:pt x="119" y="322"/>
                  </a:lnTo>
                  <a:lnTo>
                    <a:pt x="139" y="320"/>
                  </a:lnTo>
                  <a:lnTo>
                    <a:pt x="157" y="304"/>
                  </a:lnTo>
                  <a:lnTo>
                    <a:pt x="178" y="301"/>
                  </a:lnTo>
                  <a:lnTo>
                    <a:pt x="196" y="312"/>
                  </a:lnTo>
                  <a:lnTo>
                    <a:pt x="211" y="322"/>
                  </a:lnTo>
                  <a:lnTo>
                    <a:pt x="227" y="332"/>
                  </a:lnTo>
                  <a:lnTo>
                    <a:pt x="253" y="340"/>
                  </a:lnTo>
                  <a:lnTo>
                    <a:pt x="260" y="353"/>
                  </a:lnTo>
                  <a:lnTo>
                    <a:pt x="245" y="371"/>
                  </a:lnTo>
                  <a:lnTo>
                    <a:pt x="227" y="379"/>
                  </a:lnTo>
                  <a:lnTo>
                    <a:pt x="211" y="394"/>
                  </a:lnTo>
                  <a:lnTo>
                    <a:pt x="217" y="410"/>
                  </a:lnTo>
                  <a:lnTo>
                    <a:pt x="237" y="402"/>
                  </a:lnTo>
                  <a:lnTo>
                    <a:pt x="255" y="394"/>
                  </a:lnTo>
                  <a:lnTo>
                    <a:pt x="273" y="384"/>
                  </a:lnTo>
                  <a:lnTo>
                    <a:pt x="296" y="381"/>
                  </a:lnTo>
                  <a:lnTo>
                    <a:pt x="317" y="381"/>
                  </a:lnTo>
                  <a:lnTo>
                    <a:pt x="335" y="363"/>
                  </a:lnTo>
                  <a:lnTo>
                    <a:pt x="358" y="371"/>
                  </a:lnTo>
                  <a:lnTo>
                    <a:pt x="384" y="394"/>
                  </a:lnTo>
                  <a:lnTo>
                    <a:pt x="402" y="415"/>
                  </a:lnTo>
                  <a:lnTo>
                    <a:pt x="423" y="430"/>
                  </a:lnTo>
                  <a:lnTo>
                    <a:pt x="433" y="456"/>
                  </a:lnTo>
                  <a:lnTo>
                    <a:pt x="453" y="471"/>
                  </a:lnTo>
                  <a:lnTo>
                    <a:pt x="435" y="489"/>
                  </a:lnTo>
                  <a:lnTo>
                    <a:pt x="448" y="507"/>
                  </a:lnTo>
                  <a:lnTo>
                    <a:pt x="441" y="520"/>
                  </a:lnTo>
                  <a:lnTo>
                    <a:pt x="461" y="531"/>
                  </a:lnTo>
                  <a:lnTo>
                    <a:pt x="482" y="541"/>
                  </a:lnTo>
                  <a:lnTo>
                    <a:pt x="497" y="536"/>
                  </a:lnTo>
                  <a:lnTo>
                    <a:pt x="525" y="551"/>
                  </a:lnTo>
                  <a:lnTo>
                    <a:pt x="549" y="559"/>
                  </a:lnTo>
                  <a:lnTo>
                    <a:pt x="562" y="569"/>
                  </a:lnTo>
                  <a:lnTo>
                    <a:pt x="562" y="585"/>
                  </a:lnTo>
                  <a:lnTo>
                    <a:pt x="585" y="590"/>
                  </a:lnTo>
                  <a:lnTo>
                    <a:pt x="610" y="590"/>
                  </a:lnTo>
                  <a:lnTo>
                    <a:pt x="641" y="577"/>
                  </a:lnTo>
                  <a:lnTo>
                    <a:pt x="641" y="567"/>
                  </a:lnTo>
                  <a:lnTo>
                    <a:pt x="667" y="567"/>
                  </a:lnTo>
                  <a:lnTo>
                    <a:pt x="670" y="556"/>
                  </a:lnTo>
                  <a:lnTo>
                    <a:pt x="675" y="546"/>
                  </a:lnTo>
                  <a:lnTo>
                    <a:pt x="677" y="528"/>
                  </a:lnTo>
                  <a:lnTo>
                    <a:pt x="693" y="513"/>
                  </a:lnTo>
                  <a:lnTo>
                    <a:pt x="711" y="502"/>
                  </a:lnTo>
                  <a:lnTo>
                    <a:pt x="703" y="489"/>
                  </a:lnTo>
                  <a:lnTo>
                    <a:pt x="688" y="477"/>
                  </a:lnTo>
                  <a:lnTo>
                    <a:pt x="672" y="466"/>
                  </a:lnTo>
                  <a:lnTo>
                    <a:pt x="662" y="446"/>
                  </a:lnTo>
                  <a:lnTo>
                    <a:pt x="659" y="438"/>
                  </a:lnTo>
                  <a:lnTo>
                    <a:pt x="639" y="420"/>
                  </a:lnTo>
                  <a:lnTo>
                    <a:pt x="610" y="407"/>
                  </a:lnTo>
                  <a:lnTo>
                    <a:pt x="603" y="392"/>
                  </a:lnTo>
                  <a:lnTo>
                    <a:pt x="580" y="366"/>
                  </a:lnTo>
                  <a:lnTo>
                    <a:pt x="564" y="356"/>
                  </a:lnTo>
                  <a:lnTo>
                    <a:pt x="554" y="332"/>
                  </a:lnTo>
                  <a:lnTo>
                    <a:pt x="544" y="309"/>
                  </a:lnTo>
                  <a:lnTo>
                    <a:pt x="528" y="281"/>
                  </a:lnTo>
                  <a:lnTo>
                    <a:pt x="523" y="265"/>
                  </a:lnTo>
                  <a:lnTo>
                    <a:pt x="525" y="245"/>
                  </a:lnTo>
                  <a:lnTo>
                    <a:pt x="541" y="229"/>
                  </a:lnTo>
                  <a:lnTo>
                    <a:pt x="559" y="222"/>
                  </a:lnTo>
                  <a:lnTo>
                    <a:pt x="574" y="204"/>
                  </a:lnTo>
                  <a:lnTo>
                    <a:pt x="577" y="186"/>
                  </a:lnTo>
                  <a:lnTo>
                    <a:pt x="580" y="165"/>
                  </a:lnTo>
                  <a:lnTo>
                    <a:pt x="580" y="165"/>
                  </a:lnTo>
                  <a:lnTo>
                    <a:pt x="574" y="160"/>
                  </a:lnTo>
                  <a:lnTo>
                    <a:pt x="549" y="155"/>
                  </a:lnTo>
                  <a:lnTo>
                    <a:pt x="523" y="147"/>
                  </a:lnTo>
                  <a:lnTo>
                    <a:pt x="497" y="142"/>
                  </a:lnTo>
                  <a:lnTo>
                    <a:pt x="479" y="150"/>
                  </a:lnTo>
                  <a:lnTo>
                    <a:pt x="461" y="139"/>
                  </a:lnTo>
                  <a:lnTo>
                    <a:pt x="456" y="124"/>
                  </a:lnTo>
                  <a:lnTo>
                    <a:pt x="459" y="106"/>
                  </a:lnTo>
                  <a:lnTo>
                    <a:pt x="430" y="93"/>
                  </a:lnTo>
                  <a:lnTo>
                    <a:pt x="412" y="83"/>
                  </a:lnTo>
                  <a:lnTo>
                    <a:pt x="399" y="52"/>
                  </a:lnTo>
                  <a:lnTo>
                    <a:pt x="392" y="36"/>
                  </a:lnTo>
                  <a:lnTo>
                    <a:pt x="384" y="23"/>
                  </a:lnTo>
                  <a:lnTo>
                    <a:pt x="379" y="5"/>
                  </a:lnTo>
                  <a:lnTo>
                    <a:pt x="379" y="5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92D05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48AE7F1-DDF1-D23A-1E3F-1D905F507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7074" y="2812617"/>
              <a:ext cx="456502" cy="449270"/>
            </a:xfrm>
            <a:custGeom>
              <a:avLst/>
              <a:gdLst>
                <a:gd name="T0" fmla="*/ 54 w 505"/>
                <a:gd name="T1" fmla="*/ 62 h 497"/>
                <a:gd name="T2" fmla="*/ 36 w 505"/>
                <a:gd name="T3" fmla="*/ 98 h 497"/>
                <a:gd name="T4" fmla="*/ 2 w 505"/>
                <a:gd name="T5" fmla="*/ 121 h 497"/>
                <a:gd name="T6" fmla="*/ 5 w 505"/>
                <a:gd name="T7" fmla="*/ 157 h 497"/>
                <a:gd name="T8" fmla="*/ 31 w 505"/>
                <a:gd name="T9" fmla="*/ 208 h 497"/>
                <a:gd name="T10" fmla="*/ 57 w 505"/>
                <a:gd name="T11" fmla="*/ 242 h 497"/>
                <a:gd name="T12" fmla="*/ 87 w 505"/>
                <a:gd name="T13" fmla="*/ 283 h 497"/>
                <a:gd name="T14" fmla="*/ 136 w 505"/>
                <a:gd name="T15" fmla="*/ 314 h 497"/>
                <a:gd name="T16" fmla="*/ 149 w 505"/>
                <a:gd name="T17" fmla="*/ 342 h 497"/>
                <a:gd name="T18" fmla="*/ 180 w 505"/>
                <a:gd name="T19" fmla="*/ 365 h 497"/>
                <a:gd name="T20" fmla="*/ 170 w 505"/>
                <a:gd name="T21" fmla="*/ 389 h 497"/>
                <a:gd name="T22" fmla="*/ 147 w 505"/>
                <a:gd name="T23" fmla="*/ 430 h 497"/>
                <a:gd name="T24" fmla="*/ 157 w 505"/>
                <a:gd name="T25" fmla="*/ 453 h 497"/>
                <a:gd name="T26" fmla="*/ 193 w 505"/>
                <a:gd name="T27" fmla="*/ 486 h 497"/>
                <a:gd name="T28" fmla="*/ 237 w 505"/>
                <a:gd name="T29" fmla="*/ 466 h 497"/>
                <a:gd name="T30" fmla="*/ 273 w 505"/>
                <a:gd name="T31" fmla="*/ 486 h 497"/>
                <a:gd name="T32" fmla="*/ 306 w 505"/>
                <a:gd name="T33" fmla="*/ 489 h 497"/>
                <a:gd name="T34" fmla="*/ 342 w 505"/>
                <a:gd name="T35" fmla="*/ 489 h 497"/>
                <a:gd name="T36" fmla="*/ 381 w 505"/>
                <a:gd name="T37" fmla="*/ 474 h 497"/>
                <a:gd name="T38" fmla="*/ 402 w 505"/>
                <a:gd name="T39" fmla="*/ 443 h 497"/>
                <a:gd name="T40" fmla="*/ 399 w 505"/>
                <a:gd name="T41" fmla="*/ 409 h 497"/>
                <a:gd name="T42" fmla="*/ 420 w 505"/>
                <a:gd name="T43" fmla="*/ 381 h 497"/>
                <a:gd name="T44" fmla="*/ 458 w 505"/>
                <a:gd name="T45" fmla="*/ 363 h 497"/>
                <a:gd name="T46" fmla="*/ 463 w 505"/>
                <a:gd name="T47" fmla="*/ 350 h 497"/>
                <a:gd name="T48" fmla="*/ 479 w 505"/>
                <a:gd name="T49" fmla="*/ 309 h 497"/>
                <a:gd name="T50" fmla="*/ 499 w 505"/>
                <a:gd name="T51" fmla="*/ 252 h 497"/>
                <a:gd name="T52" fmla="*/ 505 w 505"/>
                <a:gd name="T53" fmla="*/ 239 h 497"/>
                <a:gd name="T54" fmla="*/ 479 w 505"/>
                <a:gd name="T55" fmla="*/ 226 h 497"/>
                <a:gd name="T56" fmla="*/ 448 w 505"/>
                <a:gd name="T57" fmla="*/ 214 h 497"/>
                <a:gd name="T58" fmla="*/ 435 w 505"/>
                <a:gd name="T59" fmla="*/ 183 h 497"/>
                <a:gd name="T60" fmla="*/ 430 w 505"/>
                <a:gd name="T61" fmla="*/ 149 h 497"/>
                <a:gd name="T62" fmla="*/ 402 w 505"/>
                <a:gd name="T63" fmla="*/ 116 h 497"/>
                <a:gd name="T64" fmla="*/ 363 w 505"/>
                <a:gd name="T65" fmla="*/ 126 h 497"/>
                <a:gd name="T66" fmla="*/ 317 w 505"/>
                <a:gd name="T67" fmla="*/ 129 h 497"/>
                <a:gd name="T68" fmla="*/ 293 w 505"/>
                <a:gd name="T69" fmla="*/ 105 h 497"/>
                <a:gd name="T70" fmla="*/ 265 w 505"/>
                <a:gd name="T71" fmla="*/ 72 h 497"/>
                <a:gd name="T72" fmla="*/ 221 w 505"/>
                <a:gd name="T73" fmla="*/ 74 h 497"/>
                <a:gd name="T74" fmla="*/ 196 w 505"/>
                <a:gd name="T75" fmla="*/ 41 h 497"/>
                <a:gd name="T76" fmla="*/ 180 w 505"/>
                <a:gd name="T77" fmla="*/ 13 h 497"/>
                <a:gd name="T78" fmla="*/ 142 w 505"/>
                <a:gd name="T79" fmla="*/ 2 h 497"/>
                <a:gd name="T80" fmla="*/ 100 w 505"/>
                <a:gd name="T81" fmla="*/ 13 h 497"/>
                <a:gd name="T82" fmla="*/ 59 w 505"/>
                <a:gd name="T83" fmla="*/ 23 h 497"/>
                <a:gd name="T84" fmla="*/ 57 w 505"/>
                <a:gd name="T85" fmla="*/ 41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497">
                  <a:moveTo>
                    <a:pt x="57" y="41"/>
                  </a:moveTo>
                  <a:lnTo>
                    <a:pt x="54" y="62"/>
                  </a:lnTo>
                  <a:lnTo>
                    <a:pt x="51" y="80"/>
                  </a:lnTo>
                  <a:lnTo>
                    <a:pt x="36" y="98"/>
                  </a:lnTo>
                  <a:lnTo>
                    <a:pt x="18" y="105"/>
                  </a:lnTo>
                  <a:lnTo>
                    <a:pt x="2" y="121"/>
                  </a:lnTo>
                  <a:lnTo>
                    <a:pt x="0" y="141"/>
                  </a:lnTo>
                  <a:lnTo>
                    <a:pt x="5" y="157"/>
                  </a:lnTo>
                  <a:lnTo>
                    <a:pt x="21" y="185"/>
                  </a:lnTo>
                  <a:lnTo>
                    <a:pt x="31" y="208"/>
                  </a:lnTo>
                  <a:lnTo>
                    <a:pt x="41" y="232"/>
                  </a:lnTo>
                  <a:lnTo>
                    <a:pt x="57" y="242"/>
                  </a:lnTo>
                  <a:lnTo>
                    <a:pt x="80" y="268"/>
                  </a:lnTo>
                  <a:lnTo>
                    <a:pt x="87" y="283"/>
                  </a:lnTo>
                  <a:lnTo>
                    <a:pt x="116" y="296"/>
                  </a:lnTo>
                  <a:lnTo>
                    <a:pt x="136" y="314"/>
                  </a:lnTo>
                  <a:lnTo>
                    <a:pt x="139" y="322"/>
                  </a:lnTo>
                  <a:lnTo>
                    <a:pt x="149" y="342"/>
                  </a:lnTo>
                  <a:lnTo>
                    <a:pt x="165" y="353"/>
                  </a:lnTo>
                  <a:lnTo>
                    <a:pt x="180" y="365"/>
                  </a:lnTo>
                  <a:lnTo>
                    <a:pt x="188" y="378"/>
                  </a:lnTo>
                  <a:lnTo>
                    <a:pt x="170" y="389"/>
                  </a:lnTo>
                  <a:lnTo>
                    <a:pt x="154" y="404"/>
                  </a:lnTo>
                  <a:lnTo>
                    <a:pt x="147" y="430"/>
                  </a:lnTo>
                  <a:lnTo>
                    <a:pt x="147" y="443"/>
                  </a:lnTo>
                  <a:lnTo>
                    <a:pt x="157" y="453"/>
                  </a:lnTo>
                  <a:lnTo>
                    <a:pt x="183" y="471"/>
                  </a:lnTo>
                  <a:lnTo>
                    <a:pt x="193" y="486"/>
                  </a:lnTo>
                  <a:lnTo>
                    <a:pt x="193" y="489"/>
                  </a:lnTo>
                  <a:lnTo>
                    <a:pt x="237" y="466"/>
                  </a:lnTo>
                  <a:lnTo>
                    <a:pt x="265" y="474"/>
                  </a:lnTo>
                  <a:lnTo>
                    <a:pt x="273" y="486"/>
                  </a:lnTo>
                  <a:lnTo>
                    <a:pt x="288" y="497"/>
                  </a:lnTo>
                  <a:lnTo>
                    <a:pt x="306" y="489"/>
                  </a:lnTo>
                  <a:lnTo>
                    <a:pt x="329" y="486"/>
                  </a:lnTo>
                  <a:lnTo>
                    <a:pt x="342" y="489"/>
                  </a:lnTo>
                  <a:lnTo>
                    <a:pt x="360" y="481"/>
                  </a:lnTo>
                  <a:lnTo>
                    <a:pt x="381" y="474"/>
                  </a:lnTo>
                  <a:lnTo>
                    <a:pt x="399" y="463"/>
                  </a:lnTo>
                  <a:lnTo>
                    <a:pt x="402" y="443"/>
                  </a:lnTo>
                  <a:lnTo>
                    <a:pt x="394" y="427"/>
                  </a:lnTo>
                  <a:lnTo>
                    <a:pt x="399" y="409"/>
                  </a:lnTo>
                  <a:lnTo>
                    <a:pt x="399" y="389"/>
                  </a:lnTo>
                  <a:lnTo>
                    <a:pt x="420" y="381"/>
                  </a:lnTo>
                  <a:lnTo>
                    <a:pt x="438" y="371"/>
                  </a:lnTo>
                  <a:lnTo>
                    <a:pt x="458" y="363"/>
                  </a:lnTo>
                  <a:lnTo>
                    <a:pt x="463" y="350"/>
                  </a:lnTo>
                  <a:lnTo>
                    <a:pt x="463" y="350"/>
                  </a:lnTo>
                  <a:lnTo>
                    <a:pt x="476" y="327"/>
                  </a:lnTo>
                  <a:lnTo>
                    <a:pt x="479" y="309"/>
                  </a:lnTo>
                  <a:lnTo>
                    <a:pt x="487" y="275"/>
                  </a:lnTo>
                  <a:lnTo>
                    <a:pt x="499" y="252"/>
                  </a:lnTo>
                  <a:lnTo>
                    <a:pt x="505" y="239"/>
                  </a:lnTo>
                  <a:lnTo>
                    <a:pt x="505" y="239"/>
                  </a:lnTo>
                  <a:lnTo>
                    <a:pt x="502" y="234"/>
                  </a:lnTo>
                  <a:lnTo>
                    <a:pt x="479" y="226"/>
                  </a:lnTo>
                  <a:lnTo>
                    <a:pt x="456" y="229"/>
                  </a:lnTo>
                  <a:lnTo>
                    <a:pt x="448" y="214"/>
                  </a:lnTo>
                  <a:lnTo>
                    <a:pt x="440" y="198"/>
                  </a:lnTo>
                  <a:lnTo>
                    <a:pt x="435" y="183"/>
                  </a:lnTo>
                  <a:lnTo>
                    <a:pt x="438" y="165"/>
                  </a:lnTo>
                  <a:lnTo>
                    <a:pt x="430" y="149"/>
                  </a:lnTo>
                  <a:lnTo>
                    <a:pt x="420" y="126"/>
                  </a:lnTo>
                  <a:lnTo>
                    <a:pt x="402" y="116"/>
                  </a:lnTo>
                  <a:lnTo>
                    <a:pt x="381" y="118"/>
                  </a:lnTo>
                  <a:lnTo>
                    <a:pt x="363" y="126"/>
                  </a:lnTo>
                  <a:lnTo>
                    <a:pt x="340" y="129"/>
                  </a:lnTo>
                  <a:lnTo>
                    <a:pt x="317" y="129"/>
                  </a:lnTo>
                  <a:lnTo>
                    <a:pt x="301" y="118"/>
                  </a:lnTo>
                  <a:lnTo>
                    <a:pt x="293" y="105"/>
                  </a:lnTo>
                  <a:lnTo>
                    <a:pt x="273" y="85"/>
                  </a:lnTo>
                  <a:lnTo>
                    <a:pt x="265" y="72"/>
                  </a:lnTo>
                  <a:lnTo>
                    <a:pt x="247" y="80"/>
                  </a:lnTo>
                  <a:lnTo>
                    <a:pt x="221" y="74"/>
                  </a:lnTo>
                  <a:lnTo>
                    <a:pt x="214" y="56"/>
                  </a:lnTo>
                  <a:lnTo>
                    <a:pt x="196" y="41"/>
                  </a:lnTo>
                  <a:lnTo>
                    <a:pt x="188" y="26"/>
                  </a:lnTo>
                  <a:lnTo>
                    <a:pt x="180" y="13"/>
                  </a:lnTo>
                  <a:lnTo>
                    <a:pt x="165" y="0"/>
                  </a:lnTo>
                  <a:lnTo>
                    <a:pt x="142" y="2"/>
                  </a:lnTo>
                  <a:lnTo>
                    <a:pt x="124" y="13"/>
                  </a:lnTo>
                  <a:lnTo>
                    <a:pt x="100" y="13"/>
                  </a:lnTo>
                  <a:lnTo>
                    <a:pt x="77" y="13"/>
                  </a:lnTo>
                  <a:lnTo>
                    <a:pt x="59" y="23"/>
                  </a:lnTo>
                  <a:lnTo>
                    <a:pt x="62" y="31"/>
                  </a:lnTo>
                  <a:lnTo>
                    <a:pt x="57" y="4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71637E7-C338-838C-7448-DF7B5D968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1539" y="3129004"/>
              <a:ext cx="470061" cy="891308"/>
            </a:xfrm>
            <a:custGeom>
              <a:avLst/>
              <a:gdLst>
                <a:gd name="T0" fmla="*/ 44 w 520"/>
                <a:gd name="T1" fmla="*/ 116 h 986"/>
                <a:gd name="T2" fmla="*/ 95 w 520"/>
                <a:gd name="T3" fmla="*/ 147 h 986"/>
                <a:gd name="T4" fmla="*/ 149 w 520"/>
                <a:gd name="T5" fmla="*/ 139 h 986"/>
                <a:gd name="T6" fmla="*/ 206 w 520"/>
                <a:gd name="T7" fmla="*/ 113 h 986"/>
                <a:gd name="T8" fmla="*/ 206 w 520"/>
                <a:gd name="T9" fmla="*/ 59 h 986"/>
                <a:gd name="T10" fmla="*/ 245 w 520"/>
                <a:gd name="T11" fmla="*/ 21 h 986"/>
                <a:gd name="T12" fmla="*/ 273 w 520"/>
                <a:gd name="T13" fmla="*/ 10 h 986"/>
                <a:gd name="T14" fmla="*/ 263 w 520"/>
                <a:gd name="T15" fmla="*/ 39 h 986"/>
                <a:gd name="T16" fmla="*/ 265 w 520"/>
                <a:gd name="T17" fmla="*/ 93 h 986"/>
                <a:gd name="T18" fmla="*/ 234 w 520"/>
                <a:gd name="T19" fmla="*/ 154 h 986"/>
                <a:gd name="T20" fmla="*/ 265 w 520"/>
                <a:gd name="T21" fmla="*/ 221 h 986"/>
                <a:gd name="T22" fmla="*/ 337 w 520"/>
                <a:gd name="T23" fmla="*/ 224 h 986"/>
                <a:gd name="T24" fmla="*/ 409 w 520"/>
                <a:gd name="T25" fmla="*/ 252 h 986"/>
                <a:gd name="T26" fmla="*/ 448 w 520"/>
                <a:gd name="T27" fmla="*/ 291 h 986"/>
                <a:gd name="T28" fmla="*/ 479 w 520"/>
                <a:gd name="T29" fmla="*/ 330 h 986"/>
                <a:gd name="T30" fmla="*/ 479 w 520"/>
                <a:gd name="T31" fmla="*/ 384 h 986"/>
                <a:gd name="T32" fmla="*/ 515 w 520"/>
                <a:gd name="T33" fmla="*/ 432 h 986"/>
                <a:gd name="T34" fmla="*/ 510 w 520"/>
                <a:gd name="T35" fmla="*/ 497 h 986"/>
                <a:gd name="T36" fmla="*/ 451 w 520"/>
                <a:gd name="T37" fmla="*/ 497 h 986"/>
                <a:gd name="T38" fmla="*/ 391 w 520"/>
                <a:gd name="T39" fmla="*/ 517 h 986"/>
                <a:gd name="T40" fmla="*/ 337 w 520"/>
                <a:gd name="T41" fmla="*/ 577 h 986"/>
                <a:gd name="T42" fmla="*/ 335 w 520"/>
                <a:gd name="T43" fmla="*/ 644 h 986"/>
                <a:gd name="T44" fmla="*/ 353 w 520"/>
                <a:gd name="T45" fmla="*/ 708 h 986"/>
                <a:gd name="T46" fmla="*/ 317 w 520"/>
                <a:gd name="T47" fmla="*/ 759 h 986"/>
                <a:gd name="T48" fmla="*/ 268 w 520"/>
                <a:gd name="T49" fmla="*/ 803 h 986"/>
                <a:gd name="T50" fmla="*/ 245 w 520"/>
                <a:gd name="T51" fmla="*/ 878 h 986"/>
                <a:gd name="T52" fmla="*/ 239 w 520"/>
                <a:gd name="T53" fmla="*/ 942 h 986"/>
                <a:gd name="T54" fmla="*/ 185 w 520"/>
                <a:gd name="T55" fmla="*/ 976 h 986"/>
                <a:gd name="T56" fmla="*/ 116 w 520"/>
                <a:gd name="T57" fmla="*/ 973 h 986"/>
                <a:gd name="T58" fmla="*/ 82 w 520"/>
                <a:gd name="T59" fmla="*/ 927 h 986"/>
                <a:gd name="T60" fmla="*/ 67 w 520"/>
                <a:gd name="T61" fmla="*/ 870 h 986"/>
                <a:gd name="T62" fmla="*/ 118 w 520"/>
                <a:gd name="T63" fmla="*/ 829 h 986"/>
                <a:gd name="T64" fmla="*/ 144 w 520"/>
                <a:gd name="T65" fmla="*/ 759 h 986"/>
                <a:gd name="T66" fmla="*/ 121 w 520"/>
                <a:gd name="T67" fmla="*/ 708 h 986"/>
                <a:gd name="T68" fmla="*/ 113 w 520"/>
                <a:gd name="T69" fmla="*/ 667 h 986"/>
                <a:gd name="T70" fmla="*/ 170 w 520"/>
                <a:gd name="T71" fmla="*/ 638 h 986"/>
                <a:gd name="T72" fmla="*/ 203 w 520"/>
                <a:gd name="T73" fmla="*/ 587 h 986"/>
                <a:gd name="T74" fmla="*/ 193 w 520"/>
                <a:gd name="T75" fmla="*/ 538 h 986"/>
                <a:gd name="T76" fmla="*/ 162 w 520"/>
                <a:gd name="T77" fmla="*/ 497 h 986"/>
                <a:gd name="T78" fmla="*/ 144 w 520"/>
                <a:gd name="T79" fmla="*/ 435 h 986"/>
                <a:gd name="T80" fmla="*/ 111 w 520"/>
                <a:gd name="T81" fmla="*/ 358 h 986"/>
                <a:gd name="T82" fmla="*/ 72 w 520"/>
                <a:gd name="T83" fmla="*/ 304 h 986"/>
                <a:gd name="T84" fmla="*/ 10 w 520"/>
                <a:gd name="T85" fmla="*/ 214 h 986"/>
                <a:gd name="T86" fmla="*/ 5 w 520"/>
                <a:gd name="T87" fmla="*/ 15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20" h="986">
                  <a:moveTo>
                    <a:pt x="0" y="139"/>
                  </a:moveTo>
                  <a:lnTo>
                    <a:pt x="26" y="126"/>
                  </a:lnTo>
                  <a:lnTo>
                    <a:pt x="44" y="116"/>
                  </a:lnTo>
                  <a:lnTo>
                    <a:pt x="72" y="121"/>
                  </a:lnTo>
                  <a:lnTo>
                    <a:pt x="80" y="134"/>
                  </a:lnTo>
                  <a:lnTo>
                    <a:pt x="95" y="147"/>
                  </a:lnTo>
                  <a:lnTo>
                    <a:pt x="113" y="136"/>
                  </a:lnTo>
                  <a:lnTo>
                    <a:pt x="136" y="136"/>
                  </a:lnTo>
                  <a:lnTo>
                    <a:pt x="149" y="139"/>
                  </a:lnTo>
                  <a:lnTo>
                    <a:pt x="167" y="129"/>
                  </a:lnTo>
                  <a:lnTo>
                    <a:pt x="188" y="121"/>
                  </a:lnTo>
                  <a:lnTo>
                    <a:pt x="206" y="113"/>
                  </a:lnTo>
                  <a:lnTo>
                    <a:pt x="209" y="93"/>
                  </a:lnTo>
                  <a:lnTo>
                    <a:pt x="201" y="77"/>
                  </a:lnTo>
                  <a:lnTo>
                    <a:pt x="206" y="59"/>
                  </a:lnTo>
                  <a:lnTo>
                    <a:pt x="206" y="39"/>
                  </a:lnTo>
                  <a:lnTo>
                    <a:pt x="227" y="31"/>
                  </a:lnTo>
                  <a:lnTo>
                    <a:pt x="245" y="21"/>
                  </a:lnTo>
                  <a:lnTo>
                    <a:pt x="265" y="13"/>
                  </a:lnTo>
                  <a:lnTo>
                    <a:pt x="270" y="0"/>
                  </a:lnTo>
                  <a:lnTo>
                    <a:pt x="273" y="10"/>
                  </a:lnTo>
                  <a:lnTo>
                    <a:pt x="276" y="15"/>
                  </a:lnTo>
                  <a:lnTo>
                    <a:pt x="270" y="28"/>
                  </a:lnTo>
                  <a:lnTo>
                    <a:pt x="263" y="39"/>
                  </a:lnTo>
                  <a:lnTo>
                    <a:pt x="252" y="64"/>
                  </a:lnTo>
                  <a:lnTo>
                    <a:pt x="258" y="77"/>
                  </a:lnTo>
                  <a:lnTo>
                    <a:pt x="265" y="93"/>
                  </a:lnTo>
                  <a:lnTo>
                    <a:pt x="263" y="113"/>
                  </a:lnTo>
                  <a:lnTo>
                    <a:pt x="247" y="129"/>
                  </a:lnTo>
                  <a:lnTo>
                    <a:pt x="234" y="154"/>
                  </a:lnTo>
                  <a:lnTo>
                    <a:pt x="232" y="175"/>
                  </a:lnTo>
                  <a:lnTo>
                    <a:pt x="242" y="196"/>
                  </a:lnTo>
                  <a:lnTo>
                    <a:pt x="265" y="221"/>
                  </a:lnTo>
                  <a:lnTo>
                    <a:pt x="291" y="227"/>
                  </a:lnTo>
                  <a:lnTo>
                    <a:pt x="314" y="224"/>
                  </a:lnTo>
                  <a:lnTo>
                    <a:pt x="337" y="224"/>
                  </a:lnTo>
                  <a:lnTo>
                    <a:pt x="366" y="237"/>
                  </a:lnTo>
                  <a:lnTo>
                    <a:pt x="384" y="247"/>
                  </a:lnTo>
                  <a:lnTo>
                    <a:pt x="409" y="252"/>
                  </a:lnTo>
                  <a:lnTo>
                    <a:pt x="425" y="265"/>
                  </a:lnTo>
                  <a:lnTo>
                    <a:pt x="433" y="278"/>
                  </a:lnTo>
                  <a:lnTo>
                    <a:pt x="448" y="291"/>
                  </a:lnTo>
                  <a:lnTo>
                    <a:pt x="466" y="301"/>
                  </a:lnTo>
                  <a:lnTo>
                    <a:pt x="482" y="311"/>
                  </a:lnTo>
                  <a:lnTo>
                    <a:pt x="479" y="330"/>
                  </a:lnTo>
                  <a:lnTo>
                    <a:pt x="476" y="350"/>
                  </a:lnTo>
                  <a:lnTo>
                    <a:pt x="482" y="363"/>
                  </a:lnTo>
                  <a:lnTo>
                    <a:pt x="479" y="384"/>
                  </a:lnTo>
                  <a:lnTo>
                    <a:pt x="482" y="412"/>
                  </a:lnTo>
                  <a:lnTo>
                    <a:pt x="497" y="422"/>
                  </a:lnTo>
                  <a:lnTo>
                    <a:pt x="515" y="432"/>
                  </a:lnTo>
                  <a:lnTo>
                    <a:pt x="520" y="445"/>
                  </a:lnTo>
                  <a:lnTo>
                    <a:pt x="518" y="466"/>
                  </a:lnTo>
                  <a:lnTo>
                    <a:pt x="510" y="497"/>
                  </a:lnTo>
                  <a:lnTo>
                    <a:pt x="492" y="505"/>
                  </a:lnTo>
                  <a:lnTo>
                    <a:pt x="474" y="497"/>
                  </a:lnTo>
                  <a:lnTo>
                    <a:pt x="451" y="497"/>
                  </a:lnTo>
                  <a:lnTo>
                    <a:pt x="427" y="499"/>
                  </a:lnTo>
                  <a:lnTo>
                    <a:pt x="409" y="507"/>
                  </a:lnTo>
                  <a:lnTo>
                    <a:pt x="391" y="517"/>
                  </a:lnTo>
                  <a:lnTo>
                    <a:pt x="371" y="525"/>
                  </a:lnTo>
                  <a:lnTo>
                    <a:pt x="361" y="551"/>
                  </a:lnTo>
                  <a:lnTo>
                    <a:pt x="337" y="577"/>
                  </a:lnTo>
                  <a:lnTo>
                    <a:pt x="324" y="600"/>
                  </a:lnTo>
                  <a:lnTo>
                    <a:pt x="324" y="620"/>
                  </a:lnTo>
                  <a:lnTo>
                    <a:pt x="335" y="644"/>
                  </a:lnTo>
                  <a:lnTo>
                    <a:pt x="345" y="664"/>
                  </a:lnTo>
                  <a:lnTo>
                    <a:pt x="355" y="687"/>
                  </a:lnTo>
                  <a:lnTo>
                    <a:pt x="353" y="708"/>
                  </a:lnTo>
                  <a:lnTo>
                    <a:pt x="350" y="726"/>
                  </a:lnTo>
                  <a:lnTo>
                    <a:pt x="337" y="752"/>
                  </a:lnTo>
                  <a:lnTo>
                    <a:pt x="317" y="759"/>
                  </a:lnTo>
                  <a:lnTo>
                    <a:pt x="301" y="777"/>
                  </a:lnTo>
                  <a:lnTo>
                    <a:pt x="283" y="785"/>
                  </a:lnTo>
                  <a:lnTo>
                    <a:pt x="268" y="803"/>
                  </a:lnTo>
                  <a:lnTo>
                    <a:pt x="255" y="826"/>
                  </a:lnTo>
                  <a:lnTo>
                    <a:pt x="252" y="844"/>
                  </a:lnTo>
                  <a:lnTo>
                    <a:pt x="245" y="878"/>
                  </a:lnTo>
                  <a:lnTo>
                    <a:pt x="242" y="896"/>
                  </a:lnTo>
                  <a:lnTo>
                    <a:pt x="242" y="922"/>
                  </a:lnTo>
                  <a:lnTo>
                    <a:pt x="239" y="942"/>
                  </a:lnTo>
                  <a:lnTo>
                    <a:pt x="229" y="965"/>
                  </a:lnTo>
                  <a:lnTo>
                    <a:pt x="209" y="976"/>
                  </a:lnTo>
                  <a:lnTo>
                    <a:pt x="185" y="976"/>
                  </a:lnTo>
                  <a:lnTo>
                    <a:pt x="160" y="971"/>
                  </a:lnTo>
                  <a:lnTo>
                    <a:pt x="131" y="986"/>
                  </a:lnTo>
                  <a:lnTo>
                    <a:pt x="116" y="973"/>
                  </a:lnTo>
                  <a:lnTo>
                    <a:pt x="95" y="955"/>
                  </a:lnTo>
                  <a:lnTo>
                    <a:pt x="90" y="940"/>
                  </a:lnTo>
                  <a:lnTo>
                    <a:pt x="82" y="927"/>
                  </a:lnTo>
                  <a:lnTo>
                    <a:pt x="72" y="904"/>
                  </a:lnTo>
                  <a:lnTo>
                    <a:pt x="75" y="886"/>
                  </a:lnTo>
                  <a:lnTo>
                    <a:pt x="67" y="870"/>
                  </a:lnTo>
                  <a:lnTo>
                    <a:pt x="82" y="852"/>
                  </a:lnTo>
                  <a:lnTo>
                    <a:pt x="98" y="837"/>
                  </a:lnTo>
                  <a:lnTo>
                    <a:pt x="118" y="829"/>
                  </a:lnTo>
                  <a:lnTo>
                    <a:pt x="129" y="803"/>
                  </a:lnTo>
                  <a:lnTo>
                    <a:pt x="142" y="780"/>
                  </a:lnTo>
                  <a:lnTo>
                    <a:pt x="144" y="759"/>
                  </a:lnTo>
                  <a:lnTo>
                    <a:pt x="144" y="734"/>
                  </a:lnTo>
                  <a:lnTo>
                    <a:pt x="136" y="718"/>
                  </a:lnTo>
                  <a:lnTo>
                    <a:pt x="121" y="708"/>
                  </a:lnTo>
                  <a:lnTo>
                    <a:pt x="106" y="698"/>
                  </a:lnTo>
                  <a:lnTo>
                    <a:pt x="98" y="682"/>
                  </a:lnTo>
                  <a:lnTo>
                    <a:pt x="113" y="667"/>
                  </a:lnTo>
                  <a:lnTo>
                    <a:pt x="126" y="649"/>
                  </a:lnTo>
                  <a:lnTo>
                    <a:pt x="147" y="641"/>
                  </a:lnTo>
                  <a:lnTo>
                    <a:pt x="170" y="638"/>
                  </a:lnTo>
                  <a:lnTo>
                    <a:pt x="185" y="623"/>
                  </a:lnTo>
                  <a:lnTo>
                    <a:pt x="201" y="605"/>
                  </a:lnTo>
                  <a:lnTo>
                    <a:pt x="203" y="587"/>
                  </a:lnTo>
                  <a:lnTo>
                    <a:pt x="206" y="566"/>
                  </a:lnTo>
                  <a:lnTo>
                    <a:pt x="209" y="548"/>
                  </a:lnTo>
                  <a:lnTo>
                    <a:pt x="193" y="538"/>
                  </a:lnTo>
                  <a:lnTo>
                    <a:pt x="175" y="528"/>
                  </a:lnTo>
                  <a:lnTo>
                    <a:pt x="170" y="512"/>
                  </a:lnTo>
                  <a:lnTo>
                    <a:pt x="162" y="497"/>
                  </a:lnTo>
                  <a:lnTo>
                    <a:pt x="152" y="474"/>
                  </a:lnTo>
                  <a:lnTo>
                    <a:pt x="142" y="453"/>
                  </a:lnTo>
                  <a:lnTo>
                    <a:pt x="144" y="435"/>
                  </a:lnTo>
                  <a:lnTo>
                    <a:pt x="134" y="409"/>
                  </a:lnTo>
                  <a:lnTo>
                    <a:pt x="121" y="381"/>
                  </a:lnTo>
                  <a:lnTo>
                    <a:pt x="111" y="358"/>
                  </a:lnTo>
                  <a:lnTo>
                    <a:pt x="103" y="342"/>
                  </a:lnTo>
                  <a:lnTo>
                    <a:pt x="82" y="324"/>
                  </a:lnTo>
                  <a:lnTo>
                    <a:pt x="72" y="304"/>
                  </a:lnTo>
                  <a:lnTo>
                    <a:pt x="44" y="263"/>
                  </a:lnTo>
                  <a:lnTo>
                    <a:pt x="31" y="242"/>
                  </a:lnTo>
                  <a:lnTo>
                    <a:pt x="10" y="214"/>
                  </a:lnTo>
                  <a:lnTo>
                    <a:pt x="13" y="196"/>
                  </a:lnTo>
                  <a:lnTo>
                    <a:pt x="3" y="172"/>
                  </a:lnTo>
                  <a:lnTo>
                    <a:pt x="5" y="154"/>
                  </a:lnTo>
                  <a:lnTo>
                    <a:pt x="0" y="139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084C9F50-0F5C-C321-E4A1-2C6355DFF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100" y="3881102"/>
              <a:ext cx="1047694" cy="718651"/>
            </a:xfrm>
            <a:custGeom>
              <a:avLst/>
              <a:gdLst>
                <a:gd name="T0" fmla="*/ 435 w 1159"/>
                <a:gd name="T1" fmla="*/ 149 h 795"/>
                <a:gd name="T2" fmla="*/ 502 w 1159"/>
                <a:gd name="T3" fmla="*/ 167 h 795"/>
                <a:gd name="T4" fmla="*/ 579 w 1159"/>
                <a:gd name="T5" fmla="*/ 141 h 795"/>
                <a:gd name="T6" fmla="*/ 641 w 1159"/>
                <a:gd name="T7" fmla="*/ 149 h 795"/>
                <a:gd name="T8" fmla="*/ 711 w 1159"/>
                <a:gd name="T9" fmla="*/ 149 h 795"/>
                <a:gd name="T10" fmla="*/ 785 w 1159"/>
                <a:gd name="T11" fmla="*/ 133 h 795"/>
                <a:gd name="T12" fmla="*/ 832 w 1159"/>
                <a:gd name="T13" fmla="*/ 90 h 795"/>
                <a:gd name="T14" fmla="*/ 901 w 1159"/>
                <a:gd name="T15" fmla="*/ 74 h 795"/>
                <a:gd name="T16" fmla="*/ 971 w 1159"/>
                <a:gd name="T17" fmla="*/ 100 h 795"/>
                <a:gd name="T18" fmla="*/ 1007 w 1159"/>
                <a:gd name="T19" fmla="*/ 48 h 795"/>
                <a:gd name="T20" fmla="*/ 1045 w 1159"/>
                <a:gd name="T21" fmla="*/ 56 h 795"/>
                <a:gd name="T22" fmla="*/ 1099 w 1159"/>
                <a:gd name="T23" fmla="*/ 33 h 795"/>
                <a:gd name="T24" fmla="*/ 1154 w 1159"/>
                <a:gd name="T25" fmla="*/ 18 h 795"/>
                <a:gd name="T26" fmla="*/ 1141 w 1159"/>
                <a:gd name="T27" fmla="*/ 66 h 795"/>
                <a:gd name="T28" fmla="*/ 1099 w 1159"/>
                <a:gd name="T29" fmla="*/ 149 h 795"/>
                <a:gd name="T30" fmla="*/ 1045 w 1159"/>
                <a:gd name="T31" fmla="*/ 216 h 795"/>
                <a:gd name="T32" fmla="*/ 1012 w 1159"/>
                <a:gd name="T33" fmla="*/ 288 h 795"/>
                <a:gd name="T34" fmla="*/ 1007 w 1159"/>
                <a:gd name="T35" fmla="*/ 365 h 795"/>
                <a:gd name="T36" fmla="*/ 981 w 1159"/>
                <a:gd name="T37" fmla="*/ 440 h 795"/>
                <a:gd name="T38" fmla="*/ 1012 w 1159"/>
                <a:gd name="T39" fmla="*/ 496 h 795"/>
                <a:gd name="T40" fmla="*/ 1012 w 1159"/>
                <a:gd name="T41" fmla="*/ 530 h 795"/>
                <a:gd name="T42" fmla="*/ 1063 w 1159"/>
                <a:gd name="T43" fmla="*/ 605 h 795"/>
                <a:gd name="T44" fmla="*/ 1025 w 1159"/>
                <a:gd name="T45" fmla="*/ 653 h 795"/>
                <a:gd name="T46" fmla="*/ 994 w 1159"/>
                <a:gd name="T47" fmla="*/ 718 h 795"/>
                <a:gd name="T48" fmla="*/ 989 w 1159"/>
                <a:gd name="T49" fmla="*/ 795 h 795"/>
                <a:gd name="T50" fmla="*/ 945 w 1159"/>
                <a:gd name="T51" fmla="*/ 769 h 795"/>
                <a:gd name="T52" fmla="*/ 875 w 1159"/>
                <a:gd name="T53" fmla="*/ 769 h 795"/>
                <a:gd name="T54" fmla="*/ 819 w 1159"/>
                <a:gd name="T55" fmla="*/ 744 h 795"/>
                <a:gd name="T56" fmla="*/ 757 w 1159"/>
                <a:gd name="T57" fmla="*/ 710 h 795"/>
                <a:gd name="T58" fmla="*/ 705 w 1159"/>
                <a:gd name="T59" fmla="*/ 628 h 795"/>
                <a:gd name="T60" fmla="*/ 636 w 1159"/>
                <a:gd name="T61" fmla="*/ 587 h 795"/>
                <a:gd name="T62" fmla="*/ 572 w 1159"/>
                <a:gd name="T63" fmla="*/ 587 h 795"/>
                <a:gd name="T64" fmla="*/ 510 w 1159"/>
                <a:gd name="T65" fmla="*/ 571 h 795"/>
                <a:gd name="T66" fmla="*/ 448 w 1159"/>
                <a:gd name="T67" fmla="*/ 538 h 795"/>
                <a:gd name="T68" fmla="*/ 389 w 1159"/>
                <a:gd name="T69" fmla="*/ 489 h 795"/>
                <a:gd name="T70" fmla="*/ 327 w 1159"/>
                <a:gd name="T71" fmla="*/ 448 h 795"/>
                <a:gd name="T72" fmla="*/ 265 w 1159"/>
                <a:gd name="T73" fmla="*/ 406 h 795"/>
                <a:gd name="T74" fmla="*/ 209 w 1159"/>
                <a:gd name="T75" fmla="*/ 388 h 795"/>
                <a:gd name="T76" fmla="*/ 144 w 1159"/>
                <a:gd name="T77" fmla="*/ 355 h 795"/>
                <a:gd name="T78" fmla="*/ 93 w 1159"/>
                <a:gd name="T79" fmla="*/ 365 h 795"/>
                <a:gd name="T80" fmla="*/ 57 w 1159"/>
                <a:gd name="T81" fmla="*/ 332 h 795"/>
                <a:gd name="T82" fmla="*/ 13 w 1159"/>
                <a:gd name="T83" fmla="*/ 288 h 795"/>
                <a:gd name="T84" fmla="*/ 13 w 1159"/>
                <a:gd name="T85" fmla="*/ 224 h 795"/>
                <a:gd name="T86" fmla="*/ 31 w 1159"/>
                <a:gd name="T87" fmla="*/ 157 h 795"/>
                <a:gd name="T88" fmla="*/ 82 w 1159"/>
                <a:gd name="T89" fmla="*/ 123 h 795"/>
                <a:gd name="T90" fmla="*/ 113 w 1159"/>
                <a:gd name="T91" fmla="*/ 74 h 795"/>
                <a:gd name="T92" fmla="*/ 144 w 1159"/>
                <a:gd name="T93" fmla="*/ 133 h 795"/>
                <a:gd name="T94" fmla="*/ 201 w 1159"/>
                <a:gd name="T95" fmla="*/ 141 h 795"/>
                <a:gd name="T96" fmla="*/ 239 w 1159"/>
                <a:gd name="T97" fmla="*/ 90 h 795"/>
                <a:gd name="T98" fmla="*/ 291 w 1159"/>
                <a:gd name="T99" fmla="*/ 74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59" h="795">
                  <a:moveTo>
                    <a:pt x="402" y="108"/>
                  </a:moveTo>
                  <a:lnTo>
                    <a:pt x="409" y="123"/>
                  </a:lnTo>
                  <a:lnTo>
                    <a:pt x="422" y="141"/>
                  </a:lnTo>
                  <a:lnTo>
                    <a:pt x="435" y="149"/>
                  </a:lnTo>
                  <a:lnTo>
                    <a:pt x="453" y="157"/>
                  </a:lnTo>
                  <a:lnTo>
                    <a:pt x="466" y="157"/>
                  </a:lnTo>
                  <a:lnTo>
                    <a:pt x="484" y="167"/>
                  </a:lnTo>
                  <a:lnTo>
                    <a:pt x="502" y="167"/>
                  </a:lnTo>
                  <a:lnTo>
                    <a:pt x="523" y="167"/>
                  </a:lnTo>
                  <a:lnTo>
                    <a:pt x="541" y="149"/>
                  </a:lnTo>
                  <a:lnTo>
                    <a:pt x="561" y="141"/>
                  </a:lnTo>
                  <a:lnTo>
                    <a:pt x="579" y="141"/>
                  </a:lnTo>
                  <a:lnTo>
                    <a:pt x="592" y="141"/>
                  </a:lnTo>
                  <a:lnTo>
                    <a:pt x="610" y="149"/>
                  </a:lnTo>
                  <a:lnTo>
                    <a:pt x="623" y="149"/>
                  </a:lnTo>
                  <a:lnTo>
                    <a:pt x="641" y="149"/>
                  </a:lnTo>
                  <a:lnTo>
                    <a:pt x="667" y="149"/>
                  </a:lnTo>
                  <a:lnTo>
                    <a:pt x="687" y="149"/>
                  </a:lnTo>
                  <a:lnTo>
                    <a:pt x="700" y="149"/>
                  </a:lnTo>
                  <a:lnTo>
                    <a:pt x="711" y="149"/>
                  </a:lnTo>
                  <a:lnTo>
                    <a:pt x="731" y="141"/>
                  </a:lnTo>
                  <a:lnTo>
                    <a:pt x="749" y="141"/>
                  </a:lnTo>
                  <a:lnTo>
                    <a:pt x="767" y="141"/>
                  </a:lnTo>
                  <a:lnTo>
                    <a:pt x="785" y="133"/>
                  </a:lnTo>
                  <a:lnTo>
                    <a:pt x="801" y="133"/>
                  </a:lnTo>
                  <a:lnTo>
                    <a:pt x="811" y="123"/>
                  </a:lnTo>
                  <a:lnTo>
                    <a:pt x="819" y="108"/>
                  </a:lnTo>
                  <a:lnTo>
                    <a:pt x="832" y="90"/>
                  </a:lnTo>
                  <a:lnTo>
                    <a:pt x="850" y="82"/>
                  </a:lnTo>
                  <a:lnTo>
                    <a:pt x="870" y="90"/>
                  </a:lnTo>
                  <a:lnTo>
                    <a:pt x="888" y="74"/>
                  </a:lnTo>
                  <a:lnTo>
                    <a:pt x="901" y="74"/>
                  </a:lnTo>
                  <a:lnTo>
                    <a:pt x="919" y="74"/>
                  </a:lnTo>
                  <a:lnTo>
                    <a:pt x="937" y="90"/>
                  </a:lnTo>
                  <a:lnTo>
                    <a:pt x="950" y="90"/>
                  </a:lnTo>
                  <a:lnTo>
                    <a:pt x="971" y="100"/>
                  </a:lnTo>
                  <a:lnTo>
                    <a:pt x="981" y="90"/>
                  </a:lnTo>
                  <a:lnTo>
                    <a:pt x="1002" y="82"/>
                  </a:lnTo>
                  <a:lnTo>
                    <a:pt x="1007" y="66"/>
                  </a:lnTo>
                  <a:lnTo>
                    <a:pt x="1007" y="48"/>
                  </a:lnTo>
                  <a:lnTo>
                    <a:pt x="1007" y="33"/>
                  </a:lnTo>
                  <a:lnTo>
                    <a:pt x="1020" y="41"/>
                  </a:lnTo>
                  <a:lnTo>
                    <a:pt x="1025" y="56"/>
                  </a:lnTo>
                  <a:lnTo>
                    <a:pt x="1045" y="56"/>
                  </a:lnTo>
                  <a:lnTo>
                    <a:pt x="1058" y="56"/>
                  </a:lnTo>
                  <a:lnTo>
                    <a:pt x="1071" y="41"/>
                  </a:lnTo>
                  <a:lnTo>
                    <a:pt x="1089" y="33"/>
                  </a:lnTo>
                  <a:lnTo>
                    <a:pt x="1099" y="33"/>
                  </a:lnTo>
                  <a:lnTo>
                    <a:pt x="1115" y="18"/>
                  </a:lnTo>
                  <a:lnTo>
                    <a:pt x="1125" y="0"/>
                  </a:lnTo>
                  <a:lnTo>
                    <a:pt x="1141" y="7"/>
                  </a:lnTo>
                  <a:lnTo>
                    <a:pt x="1154" y="18"/>
                  </a:lnTo>
                  <a:lnTo>
                    <a:pt x="1159" y="33"/>
                  </a:lnTo>
                  <a:lnTo>
                    <a:pt x="1143" y="33"/>
                  </a:lnTo>
                  <a:lnTo>
                    <a:pt x="1141" y="48"/>
                  </a:lnTo>
                  <a:lnTo>
                    <a:pt x="1141" y="66"/>
                  </a:lnTo>
                  <a:lnTo>
                    <a:pt x="1125" y="82"/>
                  </a:lnTo>
                  <a:lnTo>
                    <a:pt x="1120" y="108"/>
                  </a:lnTo>
                  <a:lnTo>
                    <a:pt x="1107" y="123"/>
                  </a:lnTo>
                  <a:lnTo>
                    <a:pt x="1099" y="149"/>
                  </a:lnTo>
                  <a:lnTo>
                    <a:pt x="1081" y="167"/>
                  </a:lnTo>
                  <a:lnTo>
                    <a:pt x="1071" y="182"/>
                  </a:lnTo>
                  <a:lnTo>
                    <a:pt x="1058" y="200"/>
                  </a:lnTo>
                  <a:lnTo>
                    <a:pt x="1045" y="216"/>
                  </a:lnTo>
                  <a:lnTo>
                    <a:pt x="1038" y="231"/>
                  </a:lnTo>
                  <a:lnTo>
                    <a:pt x="1025" y="247"/>
                  </a:lnTo>
                  <a:lnTo>
                    <a:pt x="1020" y="265"/>
                  </a:lnTo>
                  <a:lnTo>
                    <a:pt x="1012" y="288"/>
                  </a:lnTo>
                  <a:lnTo>
                    <a:pt x="1007" y="306"/>
                  </a:lnTo>
                  <a:lnTo>
                    <a:pt x="1002" y="324"/>
                  </a:lnTo>
                  <a:lnTo>
                    <a:pt x="1007" y="339"/>
                  </a:lnTo>
                  <a:lnTo>
                    <a:pt x="1007" y="365"/>
                  </a:lnTo>
                  <a:lnTo>
                    <a:pt x="994" y="381"/>
                  </a:lnTo>
                  <a:lnTo>
                    <a:pt x="981" y="399"/>
                  </a:lnTo>
                  <a:lnTo>
                    <a:pt x="981" y="414"/>
                  </a:lnTo>
                  <a:lnTo>
                    <a:pt x="981" y="440"/>
                  </a:lnTo>
                  <a:lnTo>
                    <a:pt x="981" y="455"/>
                  </a:lnTo>
                  <a:lnTo>
                    <a:pt x="989" y="471"/>
                  </a:lnTo>
                  <a:lnTo>
                    <a:pt x="994" y="489"/>
                  </a:lnTo>
                  <a:lnTo>
                    <a:pt x="1012" y="496"/>
                  </a:lnTo>
                  <a:lnTo>
                    <a:pt x="1025" y="504"/>
                  </a:lnTo>
                  <a:lnTo>
                    <a:pt x="1038" y="512"/>
                  </a:lnTo>
                  <a:lnTo>
                    <a:pt x="1025" y="520"/>
                  </a:lnTo>
                  <a:lnTo>
                    <a:pt x="1012" y="530"/>
                  </a:lnTo>
                  <a:lnTo>
                    <a:pt x="1025" y="553"/>
                  </a:lnTo>
                  <a:lnTo>
                    <a:pt x="1045" y="571"/>
                  </a:lnTo>
                  <a:lnTo>
                    <a:pt x="1058" y="587"/>
                  </a:lnTo>
                  <a:lnTo>
                    <a:pt x="1063" y="605"/>
                  </a:lnTo>
                  <a:lnTo>
                    <a:pt x="1063" y="620"/>
                  </a:lnTo>
                  <a:lnTo>
                    <a:pt x="1051" y="628"/>
                  </a:lnTo>
                  <a:lnTo>
                    <a:pt x="1038" y="646"/>
                  </a:lnTo>
                  <a:lnTo>
                    <a:pt x="1025" y="653"/>
                  </a:lnTo>
                  <a:lnTo>
                    <a:pt x="1012" y="669"/>
                  </a:lnTo>
                  <a:lnTo>
                    <a:pt x="1002" y="687"/>
                  </a:lnTo>
                  <a:lnTo>
                    <a:pt x="994" y="702"/>
                  </a:lnTo>
                  <a:lnTo>
                    <a:pt x="994" y="718"/>
                  </a:lnTo>
                  <a:lnTo>
                    <a:pt x="1002" y="736"/>
                  </a:lnTo>
                  <a:lnTo>
                    <a:pt x="1007" y="762"/>
                  </a:lnTo>
                  <a:lnTo>
                    <a:pt x="1002" y="777"/>
                  </a:lnTo>
                  <a:lnTo>
                    <a:pt x="989" y="795"/>
                  </a:lnTo>
                  <a:lnTo>
                    <a:pt x="973" y="795"/>
                  </a:lnTo>
                  <a:lnTo>
                    <a:pt x="963" y="785"/>
                  </a:lnTo>
                  <a:lnTo>
                    <a:pt x="963" y="769"/>
                  </a:lnTo>
                  <a:lnTo>
                    <a:pt x="945" y="769"/>
                  </a:lnTo>
                  <a:lnTo>
                    <a:pt x="924" y="762"/>
                  </a:lnTo>
                  <a:lnTo>
                    <a:pt x="914" y="762"/>
                  </a:lnTo>
                  <a:lnTo>
                    <a:pt x="893" y="762"/>
                  </a:lnTo>
                  <a:lnTo>
                    <a:pt x="875" y="769"/>
                  </a:lnTo>
                  <a:lnTo>
                    <a:pt x="863" y="762"/>
                  </a:lnTo>
                  <a:lnTo>
                    <a:pt x="845" y="754"/>
                  </a:lnTo>
                  <a:lnTo>
                    <a:pt x="832" y="754"/>
                  </a:lnTo>
                  <a:lnTo>
                    <a:pt x="819" y="744"/>
                  </a:lnTo>
                  <a:lnTo>
                    <a:pt x="801" y="736"/>
                  </a:lnTo>
                  <a:lnTo>
                    <a:pt x="783" y="728"/>
                  </a:lnTo>
                  <a:lnTo>
                    <a:pt x="767" y="718"/>
                  </a:lnTo>
                  <a:lnTo>
                    <a:pt x="757" y="710"/>
                  </a:lnTo>
                  <a:lnTo>
                    <a:pt x="742" y="687"/>
                  </a:lnTo>
                  <a:lnTo>
                    <a:pt x="731" y="661"/>
                  </a:lnTo>
                  <a:lnTo>
                    <a:pt x="718" y="646"/>
                  </a:lnTo>
                  <a:lnTo>
                    <a:pt x="705" y="628"/>
                  </a:lnTo>
                  <a:lnTo>
                    <a:pt x="687" y="612"/>
                  </a:lnTo>
                  <a:lnTo>
                    <a:pt x="667" y="605"/>
                  </a:lnTo>
                  <a:lnTo>
                    <a:pt x="649" y="594"/>
                  </a:lnTo>
                  <a:lnTo>
                    <a:pt x="636" y="587"/>
                  </a:lnTo>
                  <a:lnTo>
                    <a:pt x="623" y="587"/>
                  </a:lnTo>
                  <a:lnTo>
                    <a:pt x="605" y="587"/>
                  </a:lnTo>
                  <a:lnTo>
                    <a:pt x="584" y="587"/>
                  </a:lnTo>
                  <a:lnTo>
                    <a:pt x="572" y="587"/>
                  </a:lnTo>
                  <a:lnTo>
                    <a:pt x="561" y="579"/>
                  </a:lnTo>
                  <a:lnTo>
                    <a:pt x="548" y="579"/>
                  </a:lnTo>
                  <a:lnTo>
                    <a:pt x="530" y="579"/>
                  </a:lnTo>
                  <a:lnTo>
                    <a:pt x="510" y="571"/>
                  </a:lnTo>
                  <a:lnTo>
                    <a:pt x="492" y="553"/>
                  </a:lnTo>
                  <a:lnTo>
                    <a:pt x="471" y="553"/>
                  </a:lnTo>
                  <a:lnTo>
                    <a:pt x="461" y="545"/>
                  </a:lnTo>
                  <a:lnTo>
                    <a:pt x="448" y="538"/>
                  </a:lnTo>
                  <a:lnTo>
                    <a:pt x="435" y="520"/>
                  </a:lnTo>
                  <a:lnTo>
                    <a:pt x="422" y="504"/>
                  </a:lnTo>
                  <a:lnTo>
                    <a:pt x="402" y="496"/>
                  </a:lnTo>
                  <a:lnTo>
                    <a:pt x="389" y="489"/>
                  </a:lnTo>
                  <a:lnTo>
                    <a:pt x="371" y="489"/>
                  </a:lnTo>
                  <a:lnTo>
                    <a:pt x="358" y="471"/>
                  </a:lnTo>
                  <a:lnTo>
                    <a:pt x="345" y="455"/>
                  </a:lnTo>
                  <a:lnTo>
                    <a:pt x="327" y="448"/>
                  </a:lnTo>
                  <a:lnTo>
                    <a:pt x="309" y="429"/>
                  </a:lnTo>
                  <a:lnTo>
                    <a:pt x="296" y="422"/>
                  </a:lnTo>
                  <a:lnTo>
                    <a:pt x="275" y="406"/>
                  </a:lnTo>
                  <a:lnTo>
                    <a:pt x="265" y="406"/>
                  </a:lnTo>
                  <a:lnTo>
                    <a:pt x="245" y="399"/>
                  </a:lnTo>
                  <a:lnTo>
                    <a:pt x="234" y="399"/>
                  </a:lnTo>
                  <a:lnTo>
                    <a:pt x="219" y="399"/>
                  </a:lnTo>
                  <a:lnTo>
                    <a:pt x="209" y="388"/>
                  </a:lnTo>
                  <a:lnTo>
                    <a:pt x="196" y="373"/>
                  </a:lnTo>
                  <a:lnTo>
                    <a:pt x="175" y="355"/>
                  </a:lnTo>
                  <a:lnTo>
                    <a:pt x="165" y="355"/>
                  </a:lnTo>
                  <a:lnTo>
                    <a:pt x="144" y="355"/>
                  </a:lnTo>
                  <a:lnTo>
                    <a:pt x="131" y="355"/>
                  </a:lnTo>
                  <a:lnTo>
                    <a:pt x="118" y="355"/>
                  </a:lnTo>
                  <a:lnTo>
                    <a:pt x="106" y="355"/>
                  </a:lnTo>
                  <a:lnTo>
                    <a:pt x="93" y="365"/>
                  </a:lnTo>
                  <a:lnTo>
                    <a:pt x="82" y="373"/>
                  </a:lnTo>
                  <a:lnTo>
                    <a:pt x="70" y="365"/>
                  </a:lnTo>
                  <a:lnTo>
                    <a:pt x="62" y="347"/>
                  </a:lnTo>
                  <a:lnTo>
                    <a:pt x="57" y="332"/>
                  </a:lnTo>
                  <a:lnTo>
                    <a:pt x="44" y="332"/>
                  </a:lnTo>
                  <a:lnTo>
                    <a:pt x="31" y="324"/>
                  </a:lnTo>
                  <a:lnTo>
                    <a:pt x="18" y="306"/>
                  </a:lnTo>
                  <a:lnTo>
                    <a:pt x="13" y="288"/>
                  </a:lnTo>
                  <a:lnTo>
                    <a:pt x="13" y="272"/>
                  </a:lnTo>
                  <a:lnTo>
                    <a:pt x="0" y="257"/>
                  </a:lnTo>
                  <a:lnTo>
                    <a:pt x="13" y="239"/>
                  </a:lnTo>
                  <a:lnTo>
                    <a:pt x="13" y="224"/>
                  </a:lnTo>
                  <a:lnTo>
                    <a:pt x="13" y="206"/>
                  </a:lnTo>
                  <a:lnTo>
                    <a:pt x="18" y="190"/>
                  </a:lnTo>
                  <a:lnTo>
                    <a:pt x="23" y="172"/>
                  </a:lnTo>
                  <a:lnTo>
                    <a:pt x="31" y="157"/>
                  </a:lnTo>
                  <a:lnTo>
                    <a:pt x="44" y="141"/>
                  </a:lnTo>
                  <a:lnTo>
                    <a:pt x="57" y="133"/>
                  </a:lnTo>
                  <a:lnTo>
                    <a:pt x="70" y="133"/>
                  </a:lnTo>
                  <a:lnTo>
                    <a:pt x="82" y="123"/>
                  </a:lnTo>
                  <a:lnTo>
                    <a:pt x="93" y="115"/>
                  </a:lnTo>
                  <a:lnTo>
                    <a:pt x="100" y="108"/>
                  </a:lnTo>
                  <a:lnTo>
                    <a:pt x="100" y="90"/>
                  </a:lnTo>
                  <a:lnTo>
                    <a:pt x="113" y="74"/>
                  </a:lnTo>
                  <a:lnTo>
                    <a:pt x="126" y="82"/>
                  </a:lnTo>
                  <a:lnTo>
                    <a:pt x="126" y="100"/>
                  </a:lnTo>
                  <a:lnTo>
                    <a:pt x="131" y="115"/>
                  </a:lnTo>
                  <a:lnTo>
                    <a:pt x="144" y="133"/>
                  </a:lnTo>
                  <a:lnTo>
                    <a:pt x="157" y="133"/>
                  </a:lnTo>
                  <a:lnTo>
                    <a:pt x="165" y="149"/>
                  </a:lnTo>
                  <a:lnTo>
                    <a:pt x="180" y="149"/>
                  </a:lnTo>
                  <a:lnTo>
                    <a:pt x="201" y="141"/>
                  </a:lnTo>
                  <a:lnTo>
                    <a:pt x="214" y="133"/>
                  </a:lnTo>
                  <a:lnTo>
                    <a:pt x="227" y="123"/>
                  </a:lnTo>
                  <a:lnTo>
                    <a:pt x="234" y="108"/>
                  </a:lnTo>
                  <a:lnTo>
                    <a:pt x="239" y="90"/>
                  </a:lnTo>
                  <a:lnTo>
                    <a:pt x="252" y="74"/>
                  </a:lnTo>
                  <a:lnTo>
                    <a:pt x="265" y="74"/>
                  </a:lnTo>
                  <a:lnTo>
                    <a:pt x="275" y="74"/>
                  </a:lnTo>
                  <a:lnTo>
                    <a:pt x="291" y="74"/>
                  </a:lnTo>
                  <a:lnTo>
                    <a:pt x="402" y="108"/>
                  </a:lnTo>
                  <a:close/>
                </a:path>
              </a:pathLst>
            </a:custGeom>
            <a:solidFill>
              <a:srgbClr val="92D05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3988BCA0-EA31-8A2C-9C13-7E5FF688A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32361" y="1557055"/>
              <a:ext cx="1168" cy="5368"/>
            </a:xfrm>
            <a:custGeom>
              <a:avLst/>
              <a:gdLst>
                <a:gd name="T0" fmla="*/ 52 w 597"/>
                <a:gd name="T1" fmla="*/ 147 h 1110"/>
                <a:gd name="T2" fmla="*/ 101 w 597"/>
                <a:gd name="T3" fmla="*/ 173 h 1110"/>
                <a:gd name="T4" fmla="*/ 178 w 597"/>
                <a:gd name="T5" fmla="*/ 173 h 1110"/>
                <a:gd name="T6" fmla="*/ 245 w 597"/>
                <a:gd name="T7" fmla="*/ 147 h 1110"/>
                <a:gd name="T8" fmla="*/ 304 w 597"/>
                <a:gd name="T9" fmla="*/ 83 h 1110"/>
                <a:gd name="T10" fmla="*/ 361 w 597"/>
                <a:gd name="T11" fmla="*/ 49 h 1110"/>
                <a:gd name="T12" fmla="*/ 404 w 597"/>
                <a:gd name="T13" fmla="*/ 0 h 1110"/>
                <a:gd name="T14" fmla="*/ 443 w 597"/>
                <a:gd name="T15" fmla="*/ 34 h 1110"/>
                <a:gd name="T16" fmla="*/ 487 w 597"/>
                <a:gd name="T17" fmla="*/ 57 h 1110"/>
                <a:gd name="T18" fmla="*/ 497 w 597"/>
                <a:gd name="T19" fmla="*/ 98 h 1110"/>
                <a:gd name="T20" fmla="*/ 518 w 597"/>
                <a:gd name="T21" fmla="*/ 147 h 1110"/>
                <a:gd name="T22" fmla="*/ 561 w 597"/>
                <a:gd name="T23" fmla="*/ 188 h 1110"/>
                <a:gd name="T24" fmla="*/ 561 w 597"/>
                <a:gd name="T25" fmla="*/ 248 h 1110"/>
                <a:gd name="T26" fmla="*/ 579 w 597"/>
                <a:gd name="T27" fmla="*/ 322 h 1110"/>
                <a:gd name="T28" fmla="*/ 587 w 597"/>
                <a:gd name="T29" fmla="*/ 387 h 1110"/>
                <a:gd name="T30" fmla="*/ 541 w 597"/>
                <a:gd name="T31" fmla="*/ 430 h 1110"/>
                <a:gd name="T32" fmla="*/ 518 w 597"/>
                <a:gd name="T33" fmla="*/ 495 h 1110"/>
                <a:gd name="T34" fmla="*/ 549 w 597"/>
                <a:gd name="T35" fmla="*/ 554 h 1110"/>
                <a:gd name="T36" fmla="*/ 541 w 597"/>
                <a:gd name="T37" fmla="*/ 629 h 1110"/>
                <a:gd name="T38" fmla="*/ 523 w 597"/>
                <a:gd name="T39" fmla="*/ 693 h 1110"/>
                <a:gd name="T40" fmla="*/ 518 w 597"/>
                <a:gd name="T41" fmla="*/ 768 h 1110"/>
                <a:gd name="T42" fmla="*/ 510 w 597"/>
                <a:gd name="T43" fmla="*/ 835 h 1110"/>
                <a:gd name="T44" fmla="*/ 497 w 597"/>
                <a:gd name="T45" fmla="*/ 902 h 1110"/>
                <a:gd name="T46" fmla="*/ 479 w 597"/>
                <a:gd name="T47" fmla="*/ 961 h 1110"/>
                <a:gd name="T48" fmla="*/ 456 w 597"/>
                <a:gd name="T49" fmla="*/ 1025 h 1110"/>
                <a:gd name="T50" fmla="*/ 422 w 597"/>
                <a:gd name="T51" fmla="*/ 999 h 1110"/>
                <a:gd name="T52" fmla="*/ 371 w 597"/>
                <a:gd name="T53" fmla="*/ 961 h 1110"/>
                <a:gd name="T54" fmla="*/ 322 w 597"/>
                <a:gd name="T55" fmla="*/ 961 h 1110"/>
                <a:gd name="T56" fmla="*/ 278 w 597"/>
                <a:gd name="T57" fmla="*/ 992 h 1110"/>
                <a:gd name="T58" fmla="*/ 270 w 597"/>
                <a:gd name="T59" fmla="*/ 1059 h 1110"/>
                <a:gd name="T60" fmla="*/ 219 w 597"/>
                <a:gd name="T61" fmla="*/ 1110 h 1110"/>
                <a:gd name="T62" fmla="*/ 170 w 597"/>
                <a:gd name="T63" fmla="*/ 1082 h 1110"/>
                <a:gd name="T64" fmla="*/ 126 w 597"/>
                <a:gd name="T65" fmla="*/ 1100 h 1110"/>
                <a:gd name="T66" fmla="*/ 108 w 597"/>
                <a:gd name="T67" fmla="*/ 1041 h 1110"/>
                <a:gd name="T68" fmla="*/ 70 w 597"/>
                <a:gd name="T69" fmla="*/ 984 h 1110"/>
                <a:gd name="T70" fmla="*/ 64 w 597"/>
                <a:gd name="T71" fmla="*/ 925 h 1110"/>
                <a:gd name="T72" fmla="*/ 57 w 597"/>
                <a:gd name="T73" fmla="*/ 860 h 1110"/>
                <a:gd name="T74" fmla="*/ 77 w 597"/>
                <a:gd name="T75" fmla="*/ 801 h 1110"/>
                <a:gd name="T76" fmla="*/ 88 w 597"/>
                <a:gd name="T77" fmla="*/ 734 h 1110"/>
                <a:gd name="T78" fmla="*/ 108 w 597"/>
                <a:gd name="T79" fmla="*/ 703 h 1110"/>
                <a:gd name="T80" fmla="*/ 119 w 597"/>
                <a:gd name="T81" fmla="*/ 636 h 1110"/>
                <a:gd name="T82" fmla="*/ 82 w 597"/>
                <a:gd name="T83" fmla="*/ 603 h 1110"/>
                <a:gd name="T84" fmla="*/ 95 w 597"/>
                <a:gd name="T85" fmla="*/ 546 h 1110"/>
                <a:gd name="T86" fmla="*/ 108 w 597"/>
                <a:gd name="T87" fmla="*/ 472 h 1110"/>
                <a:gd name="T88" fmla="*/ 88 w 597"/>
                <a:gd name="T89" fmla="*/ 412 h 1110"/>
                <a:gd name="T90" fmla="*/ 77 w 597"/>
                <a:gd name="T91" fmla="*/ 340 h 1110"/>
                <a:gd name="T92" fmla="*/ 39 w 597"/>
                <a:gd name="T93" fmla="*/ 297 h 1110"/>
                <a:gd name="T94" fmla="*/ 8 w 597"/>
                <a:gd name="T95" fmla="*/ 297 h 1110"/>
                <a:gd name="T96" fmla="*/ 18 w 597"/>
                <a:gd name="T97" fmla="*/ 230 h 1110"/>
                <a:gd name="T98" fmla="*/ 18 w 597"/>
                <a:gd name="T99" fmla="*/ 183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97" h="1110">
                  <a:moveTo>
                    <a:pt x="26" y="103"/>
                  </a:moveTo>
                  <a:lnTo>
                    <a:pt x="41" y="111"/>
                  </a:lnTo>
                  <a:lnTo>
                    <a:pt x="44" y="132"/>
                  </a:lnTo>
                  <a:lnTo>
                    <a:pt x="52" y="147"/>
                  </a:lnTo>
                  <a:lnTo>
                    <a:pt x="57" y="165"/>
                  </a:lnTo>
                  <a:lnTo>
                    <a:pt x="70" y="173"/>
                  </a:lnTo>
                  <a:lnTo>
                    <a:pt x="88" y="173"/>
                  </a:lnTo>
                  <a:lnTo>
                    <a:pt x="101" y="173"/>
                  </a:lnTo>
                  <a:lnTo>
                    <a:pt x="113" y="183"/>
                  </a:lnTo>
                  <a:lnTo>
                    <a:pt x="131" y="183"/>
                  </a:lnTo>
                  <a:lnTo>
                    <a:pt x="160" y="173"/>
                  </a:lnTo>
                  <a:lnTo>
                    <a:pt x="178" y="173"/>
                  </a:lnTo>
                  <a:lnTo>
                    <a:pt x="191" y="158"/>
                  </a:lnTo>
                  <a:lnTo>
                    <a:pt x="209" y="147"/>
                  </a:lnTo>
                  <a:lnTo>
                    <a:pt x="234" y="147"/>
                  </a:lnTo>
                  <a:lnTo>
                    <a:pt x="245" y="147"/>
                  </a:lnTo>
                  <a:lnTo>
                    <a:pt x="258" y="124"/>
                  </a:lnTo>
                  <a:lnTo>
                    <a:pt x="270" y="106"/>
                  </a:lnTo>
                  <a:lnTo>
                    <a:pt x="283" y="91"/>
                  </a:lnTo>
                  <a:lnTo>
                    <a:pt x="304" y="83"/>
                  </a:lnTo>
                  <a:lnTo>
                    <a:pt x="317" y="65"/>
                  </a:lnTo>
                  <a:lnTo>
                    <a:pt x="327" y="57"/>
                  </a:lnTo>
                  <a:lnTo>
                    <a:pt x="348" y="49"/>
                  </a:lnTo>
                  <a:lnTo>
                    <a:pt x="361" y="49"/>
                  </a:lnTo>
                  <a:lnTo>
                    <a:pt x="379" y="34"/>
                  </a:lnTo>
                  <a:lnTo>
                    <a:pt x="379" y="16"/>
                  </a:lnTo>
                  <a:lnTo>
                    <a:pt x="391" y="0"/>
                  </a:lnTo>
                  <a:lnTo>
                    <a:pt x="404" y="0"/>
                  </a:lnTo>
                  <a:lnTo>
                    <a:pt x="417" y="8"/>
                  </a:lnTo>
                  <a:lnTo>
                    <a:pt x="422" y="26"/>
                  </a:lnTo>
                  <a:lnTo>
                    <a:pt x="428" y="42"/>
                  </a:lnTo>
                  <a:lnTo>
                    <a:pt x="443" y="34"/>
                  </a:lnTo>
                  <a:lnTo>
                    <a:pt x="453" y="34"/>
                  </a:lnTo>
                  <a:lnTo>
                    <a:pt x="466" y="42"/>
                  </a:lnTo>
                  <a:lnTo>
                    <a:pt x="474" y="57"/>
                  </a:lnTo>
                  <a:lnTo>
                    <a:pt x="487" y="57"/>
                  </a:lnTo>
                  <a:lnTo>
                    <a:pt x="505" y="57"/>
                  </a:lnTo>
                  <a:lnTo>
                    <a:pt x="518" y="65"/>
                  </a:lnTo>
                  <a:lnTo>
                    <a:pt x="510" y="83"/>
                  </a:lnTo>
                  <a:lnTo>
                    <a:pt x="497" y="98"/>
                  </a:lnTo>
                  <a:lnTo>
                    <a:pt x="510" y="106"/>
                  </a:lnTo>
                  <a:lnTo>
                    <a:pt x="531" y="116"/>
                  </a:lnTo>
                  <a:lnTo>
                    <a:pt x="531" y="132"/>
                  </a:lnTo>
                  <a:lnTo>
                    <a:pt x="518" y="147"/>
                  </a:lnTo>
                  <a:lnTo>
                    <a:pt x="523" y="165"/>
                  </a:lnTo>
                  <a:lnTo>
                    <a:pt x="536" y="173"/>
                  </a:lnTo>
                  <a:lnTo>
                    <a:pt x="549" y="183"/>
                  </a:lnTo>
                  <a:lnTo>
                    <a:pt x="561" y="188"/>
                  </a:lnTo>
                  <a:lnTo>
                    <a:pt x="561" y="206"/>
                  </a:lnTo>
                  <a:lnTo>
                    <a:pt x="549" y="214"/>
                  </a:lnTo>
                  <a:lnTo>
                    <a:pt x="554" y="230"/>
                  </a:lnTo>
                  <a:lnTo>
                    <a:pt x="561" y="248"/>
                  </a:lnTo>
                  <a:lnTo>
                    <a:pt x="574" y="266"/>
                  </a:lnTo>
                  <a:lnTo>
                    <a:pt x="574" y="289"/>
                  </a:lnTo>
                  <a:lnTo>
                    <a:pt x="574" y="304"/>
                  </a:lnTo>
                  <a:lnTo>
                    <a:pt x="579" y="322"/>
                  </a:lnTo>
                  <a:lnTo>
                    <a:pt x="592" y="340"/>
                  </a:lnTo>
                  <a:lnTo>
                    <a:pt x="597" y="356"/>
                  </a:lnTo>
                  <a:lnTo>
                    <a:pt x="592" y="371"/>
                  </a:lnTo>
                  <a:lnTo>
                    <a:pt x="587" y="387"/>
                  </a:lnTo>
                  <a:lnTo>
                    <a:pt x="579" y="405"/>
                  </a:lnTo>
                  <a:lnTo>
                    <a:pt x="574" y="420"/>
                  </a:lnTo>
                  <a:lnTo>
                    <a:pt x="561" y="420"/>
                  </a:lnTo>
                  <a:lnTo>
                    <a:pt x="541" y="430"/>
                  </a:lnTo>
                  <a:lnTo>
                    <a:pt x="531" y="446"/>
                  </a:lnTo>
                  <a:lnTo>
                    <a:pt x="523" y="464"/>
                  </a:lnTo>
                  <a:lnTo>
                    <a:pt x="518" y="479"/>
                  </a:lnTo>
                  <a:lnTo>
                    <a:pt x="518" y="495"/>
                  </a:lnTo>
                  <a:lnTo>
                    <a:pt x="523" y="513"/>
                  </a:lnTo>
                  <a:lnTo>
                    <a:pt x="531" y="528"/>
                  </a:lnTo>
                  <a:lnTo>
                    <a:pt x="541" y="539"/>
                  </a:lnTo>
                  <a:lnTo>
                    <a:pt x="549" y="554"/>
                  </a:lnTo>
                  <a:lnTo>
                    <a:pt x="549" y="580"/>
                  </a:lnTo>
                  <a:lnTo>
                    <a:pt x="536" y="595"/>
                  </a:lnTo>
                  <a:lnTo>
                    <a:pt x="531" y="613"/>
                  </a:lnTo>
                  <a:lnTo>
                    <a:pt x="541" y="629"/>
                  </a:lnTo>
                  <a:lnTo>
                    <a:pt x="541" y="644"/>
                  </a:lnTo>
                  <a:lnTo>
                    <a:pt x="536" y="662"/>
                  </a:lnTo>
                  <a:lnTo>
                    <a:pt x="531" y="678"/>
                  </a:lnTo>
                  <a:lnTo>
                    <a:pt x="523" y="693"/>
                  </a:lnTo>
                  <a:lnTo>
                    <a:pt x="523" y="711"/>
                  </a:lnTo>
                  <a:lnTo>
                    <a:pt x="523" y="726"/>
                  </a:lnTo>
                  <a:lnTo>
                    <a:pt x="518" y="752"/>
                  </a:lnTo>
                  <a:lnTo>
                    <a:pt x="518" y="768"/>
                  </a:lnTo>
                  <a:lnTo>
                    <a:pt x="518" y="786"/>
                  </a:lnTo>
                  <a:lnTo>
                    <a:pt x="518" y="801"/>
                  </a:lnTo>
                  <a:lnTo>
                    <a:pt x="505" y="819"/>
                  </a:lnTo>
                  <a:lnTo>
                    <a:pt x="510" y="835"/>
                  </a:lnTo>
                  <a:lnTo>
                    <a:pt x="510" y="850"/>
                  </a:lnTo>
                  <a:lnTo>
                    <a:pt x="497" y="868"/>
                  </a:lnTo>
                  <a:lnTo>
                    <a:pt x="497" y="884"/>
                  </a:lnTo>
                  <a:lnTo>
                    <a:pt x="497" y="902"/>
                  </a:lnTo>
                  <a:lnTo>
                    <a:pt x="505" y="917"/>
                  </a:lnTo>
                  <a:lnTo>
                    <a:pt x="492" y="925"/>
                  </a:lnTo>
                  <a:lnTo>
                    <a:pt x="487" y="943"/>
                  </a:lnTo>
                  <a:lnTo>
                    <a:pt x="479" y="961"/>
                  </a:lnTo>
                  <a:lnTo>
                    <a:pt x="479" y="976"/>
                  </a:lnTo>
                  <a:lnTo>
                    <a:pt x="471" y="1005"/>
                  </a:lnTo>
                  <a:lnTo>
                    <a:pt x="464" y="1010"/>
                  </a:lnTo>
                  <a:lnTo>
                    <a:pt x="456" y="1025"/>
                  </a:lnTo>
                  <a:lnTo>
                    <a:pt x="451" y="1025"/>
                  </a:lnTo>
                  <a:lnTo>
                    <a:pt x="448" y="1007"/>
                  </a:lnTo>
                  <a:lnTo>
                    <a:pt x="435" y="1012"/>
                  </a:lnTo>
                  <a:lnTo>
                    <a:pt x="422" y="999"/>
                  </a:lnTo>
                  <a:lnTo>
                    <a:pt x="409" y="984"/>
                  </a:lnTo>
                  <a:lnTo>
                    <a:pt x="397" y="976"/>
                  </a:lnTo>
                  <a:lnTo>
                    <a:pt x="386" y="968"/>
                  </a:lnTo>
                  <a:lnTo>
                    <a:pt x="371" y="961"/>
                  </a:lnTo>
                  <a:lnTo>
                    <a:pt x="361" y="961"/>
                  </a:lnTo>
                  <a:lnTo>
                    <a:pt x="348" y="961"/>
                  </a:lnTo>
                  <a:lnTo>
                    <a:pt x="335" y="968"/>
                  </a:lnTo>
                  <a:lnTo>
                    <a:pt x="322" y="961"/>
                  </a:lnTo>
                  <a:lnTo>
                    <a:pt x="309" y="961"/>
                  </a:lnTo>
                  <a:lnTo>
                    <a:pt x="296" y="976"/>
                  </a:lnTo>
                  <a:lnTo>
                    <a:pt x="283" y="976"/>
                  </a:lnTo>
                  <a:lnTo>
                    <a:pt x="278" y="992"/>
                  </a:lnTo>
                  <a:lnTo>
                    <a:pt x="278" y="1007"/>
                  </a:lnTo>
                  <a:lnTo>
                    <a:pt x="278" y="1025"/>
                  </a:lnTo>
                  <a:lnTo>
                    <a:pt x="278" y="1041"/>
                  </a:lnTo>
                  <a:lnTo>
                    <a:pt x="270" y="1059"/>
                  </a:lnTo>
                  <a:lnTo>
                    <a:pt x="258" y="1074"/>
                  </a:lnTo>
                  <a:lnTo>
                    <a:pt x="245" y="1082"/>
                  </a:lnTo>
                  <a:lnTo>
                    <a:pt x="234" y="1092"/>
                  </a:lnTo>
                  <a:lnTo>
                    <a:pt x="219" y="1110"/>
                  </a:lnTo>
                  <a:lnTo>
                    <a:pt x="209" y="1108"/>
                  </a:lnTo>
                  <a:lnTo>
                    <a:pt x="196" y="1108"/>
                  </a:lnTo>
                  <a:lnTo>
                    <a:pt x="183" y="1092"/>
                  </a:lnTo>
                  <a:lnTo>
                    <a:pt x="170" y="1082"/>
                  </a:lnTo>
                  <a:lnTo>
                    <a:pt x="160" y="1082"/>
                  </a:lnTo>
                  <a:lnTo>
                    <a:pt x="144" y="1092"/>
                  </a:lnTo>
                  <a:lnTo>
                    <a:pt x="139" y="1108"/>
                  </a:lnTo>
                  <a:lnTo>
                    <a:pt x="126" y="1100"/>
                  </a:lnTo>
                  <a:lnTo>
                    <a:pt x="119" y="1082"/>
                  </a:lnTo>
                  <a:lnTo>
                    <a:pt x="119" y="1066"/>
                  </a:lnTo>
                  <a:lnTo>
                    <a:pt x="108" y="1059"/>
                  </a:lnTo>
                  <a:lnTo>
                    <a:pt x="108" y="1041"/>
                  </a:lnTo>
                  <a:lnTo>
                    <a:pt x="101" y="1025"/>
                  </a:lnTo>
                  <a:lnTo>
                    <a:pt x="95" y="1007"/>
                  </a:lnTo>
                  <a:lnTo>
                    <a:pt x="82" y="992"/>
                  </a:lnTo>
                  <a:lnTo>
                    <a:pt x="70" y="984"/>
                  </a:lnTo>
                  <a:lnTo>
                    <a:pt x="64" y="968"/>
                  </a:lnTo>
                  <a:lnTo>
                    <a:pt x="57" y="950"/>
                  </a:lnTo>
                  <a:lnTo>
                    <a:pt x="52" y="935"/>
                  </a:lnTo>
                  <a:lnTo>
                    <a:pt x="64" y="925"/>
                  </a:lnTo>
                  <a:lnTo>
                    <a:pt x="77" y="909"/>
                  </a:lnTo>
                  <a:lnTo>
                    <a:pt x="64" y="891"/>
                  </a:lnTo>
                  <a:lnTo>
                    <a:pt x="52" y="876"/>
                  </a:lnTo>
                  <a:lnTo>
                    <a:pt x="57" y="860"/>
                  </a:lnTo>
                  <a:lnTo>
                    <a:pt x="70" y="850"/>
                  </a:lnTo>
                  <a:lnTo>
                    <a:pt x="57" y="835"/>
                  </a:lnTo>
                  <a:lnTo>
                    <a:pt x="64" y="819"/>
                  </a:lnTo>
                  <a:lnTo>
                    <a:pt x="77" y="801"/>
                  </a:lnTo>
                  <a:lnTo>
                    <a:pt x="82" y="786"/>
                  </a:lnTo>
                  <a:lnTo>
                    <a:pt x="95" y="768"/>
                  </a:lnTo>
                  <a:lnTo>
                    <a:pt x="88" y="752"/>
                  </a:lnTo>
                  <a:lnTo>
                    <a:pt x="88" y="734"/>
                  </a:lnTo>
                  <a:lnTo>
                    <a:pt x="88" y="719"/>
                  </a:lnTo>
                  <a:lnTo>
                    <a:pt x="88" y="703"/>
                  </a:lnTo>
                  <a:lnTo>
                    <a:pt x="95" y="685"/>
                  </a:lnTo>
                  <a:lnTo>
                    <a:pt x="108" y="703"/>
                  </a:lnTo>
                  <a:lnTo>
                    <a:pt x="113" y="685"/>
                  </a:lnTo>
                  <a:lnTo>
                    <a:pt x="113" y="670"/>
                  </a:lnTo>
                  <a:lnTo>
                    <a:pt x="119" y="652"/>
                  </a:lnTo>
                  <a:lnTo>
                    <a:pt x="119" y="636"/>
                  </a:lnTo>
                  <a:lnTo>
                    <a:pt x="113" y="618"/>
                  </a:lnTo>
                  <a:lnTo>
                    <a:pt x="101" y="618"/>
                  </a:lnTo>
                  <a:lnTo>
                    <a:pt x="88" y="618"/>
                  </a:lnTo>
                  <a:lnTo>
                    <a:pt x="82" y="603"/>
                  </a:lnTo>
                  <a:lnTo>
                    <a:pt x="82" y="587"/>
                  </a:lnTo>
                  <a:lnTo>
                    <a:pt x="82" y="569"/>
                  </a:lnTo>
                  <a:lnTo>
                    <a:pt x="82" y="554"/>
                  </a:lnTo>
                  <a:lnTo>
                    <a:pt x="95" y="546"/>
                  </a:lnTo>
                  <a:lnTo>
                    <a:pt x="108" y="528"/>
                  </a:lnTo>
                  <a:lnTo>
                    <a:pt x="108" y="505"/>
                  </a:lnTo>
                  <a:lnTo>
                    <a:pt x="101" y="487"/>
                  </a:lnTo>
                  <a:lnTo>
                    <a:pt x="108" y="472"/>
                  </a:lnTo>
                  <a:lnTo>
                    <a:pt x="113" y="454"/>
                  </a:lnTo>
                  <a:lnTo>
                    <a:pt x="108" y="438"/>
                  </a:lnTo>
                  <a:lnTo>
                    <a:pt x="101" y="420"/>
                  </a:lnTo>
                  <a:lnTo>
                    <a:pt x="88" y="412"/>
                  </a:lnTo>
                  <a:lnTo>
                    <a:pt x="82" y="397"/>
                  </a:lnTo>
                  <a:lnTo>
                    <a:pt x="82" y="371"/>
                  </a:lnTo>
                  <a:lnTo>
                    <a:pt x="82" y="356"/>
                  </a:lnTo>
                  <a:lnTo>
                    <a:pt x="77" y="340"/>
                  </a:lnTo>
                  <a:lnTo>
                    <a:pt x="70" y="322"/>
                  </a:lnTo>
                  <a:lnTo>
                    <a:pt x="64" y="304"/>
                  </a:lnTo>
                  <a:lnTo>
                    <a:pt x="52" y="297"/>
                  </a:lnTo>
                  <a:lnTo>
                    <a:pt x="39" y="297"/>
                  </a:lnTo>
                  <a:lnTo>
                    <a:pt x="26" y="297"/>
                  </a:lnTo>
                  <a:lnTo>
                    <a:pt x="26" y="281"/>
                  </a:lnTo>
                  <a:lnTo>
                    <a:pt x="13" y="281"/>
                  </a:lnTo>
                  <a:lnTo>
                    <a:pt x="8" y="297"/>
                  </a:lnTo>
                  <a:lnTo>
                    <a:pt x="0" y="281"/>
                  </a:lnTo>
                  <a:lnTo>
                    <a:pt x="8" y="266"/>
                  </a:lnTo>
                  <a:lnTo>
                    <a:pt x="18" y="248"/>
                  </a:lnTo>
                  <a:lnTo>
                    <a:pt x="18" y="230"/>
                  </a:lnTo>
                  <a:lnTo>
                    <a:pt x="8" y="230"/>
                  </a:lnTo>
                  <a:lnTo>
                    <a:pt x="8" y="214"/>
                  </a:lnTo>
                  <a:lnTo>
                    <a:pt x="13" y="199"/>
                  </a:lnTo>
                  <a:lnTo>
                    <a:pt x="18" y="183"/>
                  </a:lnTo>
                  <a:lnTo>
                    <a:pt x="26" y="103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DDFE3715-5370-BA95-2858-B94E667A4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7343" y="833841"/>
              <a:ext cx="626447" cy="696052"/>
            </a:xfrm>
            <a:custGeom>
              <a:avLst/>
              <a:gdLst>
                <a:gd name="T0" fmla="*/ 669 w 693"/>
                <a:gd name="T1" fmla="*/ 364 h 770"/>
                <a:gd name="T2" fmla="*/ 597 w 693"/>
                <a:gd name="T3" fmla="*/ 335 h 770"/>
                <a:gd name="T4" fmla="*/ 525 w 693"/>
                <a:gd name="T5" fmla="*/ 348 h 770"/>
                <a:gd name="T6" fmla="*/ 502 w 693"/>
                <a:gd name="T7" fmla="*/ 299 h 770"/>
                <a:gd name="T8" fmla="*/ 505 w 693"/>
                <a:gd name="T9" fmla="*/ 232 h 770"/>
                <a:gd name="T10" fmla="*/ 471 w 693"/>
                <a:gd name="T11" fmla="*/ 183 h 770"/>
                <a:gd name="T12" fmla="*/ 484 w 693"/>
                <a:gd name="T13" fmla="*/ 134 h 770"/>
                <a:gd name="T14" fmla="*/ 520 w 693"/>
                <a:gd name="T15" fmla="*/ 88 h 770"/>
                <a:gd name="T16" fmla="*/ 567 w 693"/>
                <a:gd name="T17" fmla="*/ 39 h 770"/>
                <a:gd name="T18" fmla="*/ 556 w 693"/>
                <a:gd name="T19" fmla="*/ 16 h 770"/>
                <a:gd name="T20" fmla="*/ 507 w 693"/>
                <a:gd name="T21" fmla="*/ 13 h 770"/>
                <a:gd name="T22" fmla="*/ 461 w 693"/>
                <a:gd name="T23" fmla="*/ 8 h 770"/>
                <a:gd name="T24" fmla="*/ 453 w 693"/>
                <a:gd name="T25" fmla="*/ 19 h 770"/>
                <a:gd name="T26" fmla="*/ 397 w 693"/>
                <a:gd name="T27" fmla="*/ 47 h 770"/>
                <a:gd name="T28" fmla="*/ 350 w 693"/>
                <a:gd name="T29" fmla="*/ 42 h 770"/>
                <a:gd name="T30" fmla="*/ 309 w 693"/>
                <a:gd name="T31" fmla="*/ 80 h 770"/>
                <a:gd name="T32" fmla="*/ 312 w 693"/>
                <a:gd name="T33" fmla="*/ 114 h 770"/>
                <a:gd name="T34" fmla="*/ 296 w 693"/>
                <a:gd name="T35" fmla="*/ 176 h 770"/>
                <a:gd name="T36" fmla="*/ 345 w 693"/>
                <a:gd name="T37" fmla="*/ 209 h 770"/>
                <a:gd name="T38" fmla="*/ 312 w 693"/>
                <a:gd name="T39" fmla="*/ 261 h 770"/>
                <a:gd name="T40" fmla="*/ 283 w 693"/>
                <a:gd name="T41" fmla="*/ 299 h 770"/>
                <a:gd name="T42" fmla="*/ 258 w 693"/>
                <a:gd name="T43" fmla="*/ 348 h 770"/>
                <a:gd name="T44" fmla="*/ 219 w 693"/>
                <a:gd name="T45" fmla="*/ 312 h 770"/>
                <a:gd name="T46" fmla="*/ 178 w 693"/>
                <a:gd name="T47" fmla="*/ 376 h 770"/>
                <a:gd name="T48" fmla="*/ 142 w 693"/>
                <a:gd name="T49" fmla="*/ 423 h 770"/>
                <a:gd name="T50" fmla="*/ 100 w 693"/>
                <a:gd name="T51" fmla="*/ 459 h 770"/>
                <a:gd name="T52" fmla="*/ 41 w 693"/>
                <a:gd name="T53" fmla="*/ 451 h 770"/>
                <a:gd name="T54" fmla="*/ 13 w 693"/>
                <a:gd name="T55" fmla="*/ 472 h 770"/>
                <a:gd name="T56" fmla="*/ 5 w 693"/>
                <a:gd name="T57" fmla="*/ 515 h 770"/>
                <a:gd name="T58" fmla="*/ 5 w 693"/>
                <a:gd name="T59" fmla="*/ 575 h 770"/>
                <a:gd name="T60" fmla="*/ 41 w 693"/>
                <a:gd name="T61" fmla="*/ 624 h 770"/>
                <a:gd name="T62" fmla="*/ 103 w 693"/>
                <a:gd name="T63" fmla="*/ 670 h 770"/>
                <a:gd name="T64" fmla="*/ 160 w 693"/>
                <a:gd name="T65" fmla="*/ 690 h 770"/>
                <a:gd name="T66" fmla="*/ 203 w 693"/>
                <a:gd name="T67" fmla="*/ 729 h 770"/>
                <a:gd name="T68" fmla="*/ 237 w 693"/>
                <a:gd name="T69" fmla="*/ 750 h 770"/>
                <a:gd name="T70" fmla="*/ 314 w 693"/>
                <a:gd name="T71" fmla="*/ 768 h 770"/>
                <a:gd name="T72" fmla="*/ 363 w 693"/>
                <a:gd name="T73" fmla="*/ 727 h 770"/>
                <a:gd name="T74" fmla="*/ 433 w 693"/>
                <a:gd name="T75" fmla="*/ 732 h 770"/>
                <a:gd name="T76" fmla="*/ 492 w 693"/>
                <a:gd name="T77" fmla="*/ 757 h 770"/>
                <a:gd name="T78" fmla="*/ 538 w 693"/>
                <a:gd name="T79" fmla="*/ 752 h 770"/>
                <a:gd name="T80" fmla="*/ 536 w 693"/>
                <a:gd name="T81" fmla="*/ 701 h 770"/>
                <a:gd name="T82" fmla="*/ 505 w 693"/>
                <a:gd name="T83" fmla="*/ 660 h 770"/>
                <a:gd name="T84" fmla="*/ 474 w 693"/>
                <a:gd name="T85" fmla="*/ 621 h 770"/>
                <a:gd name="T86" fmla="*/ 420 w 693"/>
                <a:gd name="T87" fmla="*/ 572 h 770"/>
                <a:gd name="T88" fmla="*/ 456 w 693"/>
                <a:gd name="T89" fmla="*/ 528 h 770"/>
                <a:gd name="T90" fmla="*/ 505 w 693"/>
                <a:gd name="T91" fmla="*/ 479 h 770"/>
                <a:gd name="T92" fmla="*/ 548 w 693"/>
                <a:gd name="T93" fmla="*/ 477 h 770"/>
                <a:gd name="T94" fmla="*/ 538 w 693"/>
                <a:gd name="T95" fmla="*/ 508 h 770"/>
                <a:gd name="T96" fmla="*/ 590 w 693"/>
                <a:gd name="T97" fmla="*/ 466 h 770"/>
                <a:gd name="T98" fmla="*/ 644 w 693"/>
                <a:gd name="T99" fmla="*/ 430 h 770"/>
                <a:gd name="T100" fmla="*/ 688 w 693"/>
                <a:gd name="T101" fmla="*/ 402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93" h="770">
                  <a:moveTo>
                    <a:pt x="693" y="389"/>
                  </a:moveTo>
                  <a:lnTo>
                    <a:pt x="688" y="374"/>
                  </a:lnTo>
                  <a:lnTo>
                    <a:pt x="669" y="364"/>
                  </a:lnTo>
                  <a:lnTo>
                    <a:pt x="646" y="338"/>
                  </a:lnTo>
                  <a:lnTo>
                    <a:pt x="628" y="327"/>
                  </a:lnTo>
                  <a:lnTo>
                    <a:pt x="597" y="335"/>
                  </a:lnTo>
                  <a:lnTo>
                    <a:pt x="582" y="348"/>
                  </a:lnTo>
                  <a:lnTo>
                    <a:pt x="551" y="358"/>
                  </a:lnTo>
                  <a:lnTo>
                    <a:pt x="525" y="348"/>
                  </a:lnTo>
                  <a:lnTo>
                    <a:pt x="520" y="335"/>
                  </a:lnTo>
                  <a:lnTo>
                    <a:pt x="507" y="312"/>
                  </a:lnTo>
                  <a:lnTo>
                    <a:pt x="502" y="299"/>
                  </a:lnTo>
                  <a:lnTo>
                    <a:pt x="482" y="279"/>
                  </a:lnTo>
                  <a:lnTo>
                    <a:pt x="494" y="255"/>
                  </a:lnTo>
                  <a:lnTo>
                    <a:pt x="505" y="232"/>
                  </a:lnTo>
                  <a:lnTo>
                    <a:pt x="497" y="217"/>
                  </a:lnTo>
                  <a:lnTo>
                    <a:pt x="487" y="194"/>
                  </a:lnTo>
                  <a:lnTo>
                    <a:pt x="471" y="183"/>
                  </a:lnTo>
                  <a:lnTo>
                    <a:pt x="451" y="165"/>
                  </a:lnTo>
                  <a:lnTo>
                    <a:pt x="464" y="142"/>
                  </a:lnTo>
                  <a:lnTo>
                    <a:pt x="484" y="134"/>
                  </a:lnTo>
                  <a:lnTo>
                    <a:pt x="487" y="114"/>
                  </a:lnTo>
                  <a:lnTo>
                    <a:pt x="497" y="88"/>
                  </a:lnTo>
                  <a:lnTo>
                    <a:pt x="520" y="88"/>
                  </a:lnTo>
                  <a:lnTo>
                    <a:pt x="536" y="70"/>
                  </a:lnTo>
                  <a:lnTo>
                    <a:pt x="546" y="47"/>
                  </a:lnTo>
                  <a:lnTo>
                    <a:pt x="567" y="39"/>
                  </a:lnTo>
                  <a:lnTo>
                    <a:pt x="569" y="19"/>
                  </a:lnTo>
                  <a:lnTo>
                    <a:pt x="569" y="19"/>
                  </a:lnTo>
                  <a:lnTo>
                    <a:pt x="556" y="16"/>
                  </a:lnTo>
                  <a:lnTo>
                    <a:pt x="533" y="19"/>
                  </a:lnTo>
                  <a:lnTo>
                    <a:pt x="528" y="6"/>
                  </a:lnTo>
                  <a:lnTo>
                    <a:pt x="507" y="13"/>
                  </a:lnTo>
                  <a:lnTo>
                    <a:pt x="489" y="21"/>
                  </a:lnTo>
                  <a:lnTo>
                    <a:pt x="474" y="11"/>
                  </a:lnTo>
                  <a:lnTo>
                    <a:pt x="461" y="8"/>
                  </a:lnTo>
                  <a:lnTo>
                    <a:pt x="461" y="8"/>
                  </a:lnTo>
                  <a:lnTo>
                    <a:pt x="458" y="0"/>
                  </a:lnTo>
                  <a:lnTo>
                    <a:pt x="453" y="19"/>
                  </a:lnTo>
                  <a:lnTo>
                    <a:pt x="435" y="29"/>
                  </a:lnTo>
                  <a:lnTo>
                    <a:pt x="417" y="39"/>
                  </a:lnTo>
                  <a:lnTo>
                    <a:pt x="397" y="47"/>
                  </a:lnTo>
                  <a:lnTo>
                    <a:pt x="381" y="37"/>
                  </a:lnTo>
                  <a:lnTo>
                    <a:pt x="363" y="26"/>
                  </a:lnTo>
                  <a:lnTo>
                    <a:pt x="350" y="42"/>
                  </a:lnTo>
                  <a:lnTo>
                    <a:pt x="348" y="60"/>
                  </a:lnTo>
                  <a:lnTo>
                    <a:pt x="327" y="70"/>
                  </a:lnTo>
                  <a:lnTo>
                    <a:pt x="309" y="80"/>
                  </a:lnTo>
                  <a:lnTo>
                    <a:pt x="288" y="88"/>
                  </a:lnTo>
                  <a:lnTo>
                    <a:pt x="296" y="103"/>
                  </a:lnTo>
                  <a:lnTo>
                    <a:pt x="312" y="114"/>
                  </a:lnTo>
                  <a:lnTo>
                    <a:pt x="314" y="140"/>
                  </a:lnTo>
                  <a:lnTo>
                    <a:pt x="312" y="160"/>
                  </a:lnTo>
                  <a:lnTo>
                    <a:pt x="296" y="176"/>
                  </a:lnTo>
                  <a:lnTo>
                    <a:pt x="312" y="186"/>
                  </a:lnTo>
                  <a:lnTo>
                    <a:pt x="330" y="196"/>
                  </a:lnTo>
                  <a:lnTo>
                    <a:pt x="345" y="209"/>
                  </a:lnTo>
                  <a:lnTo>
                    <a:pt x="342" y="227"/>
                  </a:lnTo>
                  <a:lnTo>
                    <a:pt x="327" y="243"/>
                  </a:lnTo>
                  <a:lnTo>
                    <a:pt x="312" y="261"/>
                  </a:lnTo>
                  <a:lnTo>
                    <a:pt x="291" y="268"/>
                  </a:lnTo>
                  <a:lnTo>
                    <a:pt x="276" y="286"/>
                  </a:lnTo>
                  <a:lnTo>
                    <a:pt x="283" y="299"/>
                  </a:lnTo>
                  <a:lnTo>
                    <a:pt x="281" y="322"/>
                  </a:lnTo>
                  <a:lnTo>
                    <a:pt x="278" y="340"/>
                  </a:lnTo>
                  <a:lnTo>
                    <a:pt x="258" y="348"/>
                  </a:lnTo>
                  <a:lnTo>
                    <a:pt x="234" y="343"/>
                  </a:lnTo>
                  <a:lnTo>
                    <a:pt x="227" y="327"/>
                  </a:lnTo>
                  <a:lnTo>
                    <a:pt x="219" y="312"/>
                  </a:lnTo>
                  <a:lnTo>
                    <a:pt x="203" y="330"/>
                  </a:lnTo>
                  <a:lnTo>
                    <a:pt x="191" y="353"/>
                  </a:lnTo>
                  <a:lnTo>
                    <a:pt x="178" y="376"/>
                  </a:lnTo>
                  <a:lnTo>
                    <a:pt x="157" y="379"/>
                  </a:lnTo>
                  <a:lnTo>
                    <a:pt x="147" y="402"/>
                  </a:lnTo>
                  <a:lnTo>
                    <a:pt x="142" y="423"/>
                  </a:lnTo>
                  <a:lnTo>
                    <a:pt x="139" y="441"/>
                  </a:lnTo>
                  <a:lnTo>
                    <a:pt x="121" y="451"/>
                  </a:lnTo>
                  <a:lnTo>
                    <a:pt x="100" y="459"/>
                  </a:lnTo>
                  <a:lnTo>
                    <a:pt x="85" y="469"/>
                  </a:lnTo>
                  <a:lnTo>
                    <a:pt x="57" y="461"/>
                  </a:lnTo>
                  <a:lnTo>
                    <a:pt x="41" y="451"/>
                  </a:lnTo>
                  <a:lnTo>
                    <a:pt x="46" y="441"/>
                  </a:lnTo>
                  <a:lnTo>
                    <a:pt x="26" y="448"/>
                  </a:lnTo>
                  <a:lnTo>
                    <a:pt x="13" y="472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5" y="515"/>
                  </a:lnTo>
                  <a:lnTo>
                    <a:pt x="10" y="539"/>
                  </a:lnTo>
                  <a:lnTo>
                    <a:pt x="3" y="562"/>
                  </a:lnTo>
                  <a:lnTo>
                    <a:pt x="5" y="575"/>
                  </a:lnTo>
                  <a:lnTo>
                    <a:pt x="8" y="598"/>
                  </a:lnTo>
                  <a:lnTo>
                    <a:pt x="26" y="621"/>
                  </a:lnTo>
                  <a:lnTo>
                    <a:pt x="41" y="624"/>
                  </a:lnTo>
                  <a:lnTo>
                    <a:pt x="46" y="639"/>
                  </a:lnTo>
                  <a:lnTo>
                    <a:pt x="64" y="654"/>
                  </a:lnTo>
                  <a:lnTo>
                    <a:pt x="103" y="670"/>
                  </a:lnTo>
                  <a:lnTo>
                    <a:pt x="126" y="685"/>
                  </a:lnTo>
                  <a:lnTo>
                    <a:pt x="147" y="685"/>
                  </a:lnTo>
                  <a:lnTo>
                    <a:pt x="160" y="690"/>
                  </a:lnTo>
                  <a:lnTo>
                    <a:pt x="160" y="716"/>
                  </a:lnTo>
                  <a:lnTo>
                    <a:pt x="178" y="724"/>
                  </a:lnTo>
                  <a:lnTo>
                    <a:pt x="203" y="729"/>
                  </a:lnTo>
                  <a:lnTo>
                    <a:pt x="206" y="737"/>
                  </a:lnTo>
                  <a:lnTo>
                    <a:pt x="224" y="750"/>
                  </a:lnTo>
                  <a:lnTo>
                    <a:pt x="237" y="750"/>
                  </a:lnTo>
                  <a:lnTo>
                    <a:pt x="265" y="765"/>
                  </a:lnTo>
                  <a:lnTo>
                    <a:pt x="291" y="770"/>
                  </a:lnTo>
                  <a:lnTo>
                    <a:pt x="314" y="768"/>
                  </a:lnTo>
                  <a:lnTo>
                    <a:pt x="330" y="752"/>
                  </a:lnTo>
                  <a:lnTo>
                    <a:pt x="345" y="737"/>
                  </a:lnTo>
                  <a:lnTo>
                    <a:pt x="363" y="727"/>
                  </a:lnTo>
                  <a:lnTo>
                    <a:pt x="386" y="727"/>
                  </a:lnTo>
                  <a:lnTo>
                    <a:pt x="409" y="724"/>
                  </a:lnTo>
                  <a:lnTo>
                    <a:pt x="433" y="732"/>
                  </a:lnTo>
                  <a:lnTo>
                    <a:pt x="461" y="737"/>
                  </a:lnTo>
                  <a:lnTo>
                    <a:pt x="476" y="747"/>
                  </a:lnTo>
                  <a:lnTo>
                    <a:pt x="492" y="757"/>
                  </a:lnTo>
                  <a:lnTo>
                    <a:pt x="518" y="763"/>
                  </a:lnTo>
                  <a:lnTo>
                    <a:pt x="518" y="763"/>
                  </a:lnTo>
                  <a:lnTo>
                    <a:pt x="538" y="752"/>
                  </a:lnTo>
                  <a:lnTo>
                    <a:pt x="538" y="734"/>
                  </a:lnTo>
                  <a:lnTo>
                    <a:pt x="541" y="716"/>
                  </a:lnTo>
                  <a:lnTo>
                    <a:pt x="536" y="701"/>
                  </a:lnTo>
                  <a:lnTo>
                    <a:pt x="528" y="685"/>
                  </a:lnTo>
                  <a:lnTo>
                    <a:pt x="523" y="670"/>
                  </a:lnTo>
                  <a:lnTo>
                    <a:pt x="505" y="660"/>
                  </a:lnTo>
                  <a:lnTo>
                    <a:pt x="500" y="644"/>
                  </a:lnTo>
                  <a:lnTo>
                    <a:pt x="482" y="634"/>
                  </a:lnTo>
                  <a:lnTo>
                    <a:pt x="474" y="621"/>
                  </a:lnTo>
                  <a:lnTo>
                    <a:pt x="469" y="603"/>
                  </a:lnTo>
                  <a:lnTo>
                    <a:pt x="443" y="598"/>
                  </a:lnTo>
                  <a:lnTo>
                    <a:pt x="420" y="572"/>
                  </a:lnTo>
                  <a:lnTo>
                    <a:pt x="422" y="554"/>
                  </a:lnTo>
                  <a:lnTo>
                    <a:pt x="438" y="536"/>
                  </a:lnTo>
                  <a:lnTo>
                    <a:pt x="456" y="528"/>
                  </a:lnTo>
                  <a:lnTo>
                    <a:pt x="471" y="510"/>
                  </a:lnTo>
                  <a:lnTo>
                    <a:pt x="487" y="495"/>
                  </a:lnTo>
                  <a:lnTo>
                    <a:pt x="505" y="479"/>
                  </a:lnTo>
                  <a:lnTo>
                    <a:pt x="520" y="469"/>
                  </a:lnTo>
                  <a:lnTo>
                    <a:pt x="541" y="461"/>
                  </a:lnTo>
                  <a:lnTo>
                    <a:pt x="548" y="477"/>
                  </a:lnTo>
                  <a:lnTo>
                    <a:pt x="533" y="492"/>
                  </a:lnTo>
                  <a:lnTo>
                    <a:pt x="518" y="510"/>
                  </a:lnTo>
                  <a:lnTo>
                    <a:pt x="538" y="508"/>
                  </a:lnTo>
                  <a:lnTo>
                    <a:pt x="556" y="490"/>
                  </a:lnTo>
                  <a:lnTo>
                    <a:pt x="569" y="474"/>
                  </a:lnTo>
                  <a:lnTo>
                    <a:pt x="590" y="466"/>
                  </a:lnTo>
                  <a:lnTo>
                    <a:pt x="608" y="459"/>
                  </a:lnTo>
                  <a:lnTo>
                    <a:pt x="623" y="441"/>
                  </a:lnTo>
                  <a:lnTo>
                    <a:pt x="644" y="430"/>
                  </a:lnTo>
                  <a:lnTo>
                    <a:pt x="662" y="423"/>
                  </a:lnTo>
                  <a:lnTo>
                    <a:pt x="680" y="412"/>
                  </a:lnTo>
                  <a:lnTo>
                    <a:pt x="688" y="402"/>
                  </a:lnTo>
                  <a:lnTo>
                    <a:pt x="693" y="389"/>
                  </a:lnTo>
                  <a:close/>
                </a:path>
              </a:pathLst>
            </a:custGeom>
            <a:solidFill>
              <a:srgbClr val="92D05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51B97D9B-77D4-6242-E00C-DE9B96D18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7902" y="913390"/>
              <a:ext cx="793680" cy="737634"/>
            </a:xfrm>
            <a:custGeom>
              <a:avLst/>
              <a:gdLst>
                <a:gd name="T0" fmla="*/ 844 w 878"/>
                <a:gd name="T1" fmla="*/ 641 h 816"/>
                <a:gd name="T2" fmla="*/ 803 w 878"/>
                <a:gd name="T3" fmla="*/ 602 h 816"/>
                <a:gd name="T4" fmla="*/ 744 w 878"/>
                <a:gd name="T5" fmla="*/ 582 h 816"/>
                <a:gd name="T6" fmla="*/ 685 w 878"/>
                <a:gd name="T7" fmla="*/ 536 h 816"/>
                <a:gd name="T8" fmla="*/ 646 w 878"/>
                <a:gd name="T9" fmla="*/ 487 h 816"/>
                <a:gd name="T10" fmla="*/ 649 w 878"/>
                <a:gd name="T11" fmla="*/ 427 h 816"/>
                <a:gd name="T12" fmla="*/ 656 w 878"/>
                <a:gd name="T13" fmla="*/ 384 h 816"/>
                <a:gd name="T14" fmla="*/ 687 w 878"/>
                <a:gd name="T15" fmla="*/ 353 h 816"/>
                <a:gd name="T16" fmla="*/ 651 w 878"/>
                <a:gd name="T17" fmla="*/ 322 h 816"/>
                <a:gd name="T18" fmla="*/ 584 w 878"/>
                <a:gd name="T19" fmla="*/ 335 h 816"/>
                <a:gd name="T20" fmla="*/ 566 w 878"/>
                <a:gd name="T21" fmla="*/ 291 h 816"/>
                <a:gd name="T22" fmla="*/ 564 w 878"/>
                <a:gd name="T23" fmla="*/ 237 h 816"/>
                <a:gd name="T24" fmla="*/ 592 w 878"/>
                <a:gd name="T25" fmla="*/ 198 h 816"/>
                <a:gd name="T26" fmla="*/ 595 w 878"/>
                <a:gd name="T27" fmla="*/ 149 h 816"/>
                <a:gd name="T28" fmla="*/ 574 w 878"/>
                <a:gd name="T29" fmla="*/ 106 h 816"/>
                <a:gd name="T30" fmla="*/ 595 w 878"/>
                <a:gd name="T31" fmla="*/ 49 h 816"/>
                <a:gd name="T32" fmla="*/ 548 w 878"/>
                <a:gd name="T33" fmla="*/ 26 h 816"/>
                <a:gd name="T34" fmla="*/ 525 w 878"/>
                <a:gd name="T35" fmla="*/ 0 h 816"/>
                <a:gd name="T36" fmla="*/ 466 w 878"/>
                <a:gd name="T37" fmla="*/ 0 h 816"/>
                <a:gd name="T38" fmla="*/ 417 w 878"/>
                <a:gd name="T39" fmla="*/ 41 h 816"/>
                <a:gd name="T40" fmla="*/ 432 w 878"/>
                <a:gd name="T41" fmla="*/ 100 h 816"/>
                <a:gd name="T42" fmla="*/ 453 w 878"/>
                <a:gd name="T43" fmla="*/ 144 h 816"/>
                <a:gd name="T44" fmla="*/ 404 w 878"/>
                <a:gd name="T45" fmla="*/ 165 h 816"/>
                <a:gd name="T46" fmla="*/ 355 w 878"/>
                <a:gd name="T47" fmla="*/ 134 h 816"/>
                <a:gd name="T48" fmla="*/ 301 w 878"/>
                <a:gd name="T49" fmla="*/ 142 h 816"/>
                <a:gd name="T50" fmla="*/ 245 w 878"/>
                <a:gd name="T51" fmla="*/ 124 h 816"/>
                <a:gd name="T52" fmla="*/ 224 w 878"/>
                <a:gd name="T53" fmla="*/ 77 h 816"/>
                <a:gd name="T54" fmla="*/ 211 w 878"/>
                <a:gd name="T55" fmla="*/ 121 h 816"/>
                <a:gd name="T56" fmla="*/ 178 w 878"/>
                <a:gd name="T57" fmla="*/ 175 h 816"/>
                <a:gd name="T58" fmla="*/ 157 w 878"/>
                <a:gd name="T59" fmla="*/ 229 h 816"/>
                <a:gd name="T60" fmla="*/ 147 w 878"/>
                <a:gd name="T61" fmla="*/ 286 h 816"/>
                <a:gd name="T62" fmla="*/ 131 w 878"/>
                <a:gd name="T63" fmla="*/ 350 h 816"/>
                <a:gd name="T64" fmla="*/ 98 w 878"/>
                <a:gd name="T65" fmla="*/ 330 h 816"/>
                <a:gd name="T66" fmla="*/ 87 w 878"/>
                <a:gd name="T67" fmla="*/ 281 h 816"/>
                <a:gd name="T68" fmla="*/ 41 w 878"/>
                <a:gd name="T69" fmla="*/ 260 h 816"/>
                <a:gd name="T70" fmla="*/ 49 w 878"/>
                <a:gd name="T71" fmla="*/ 296 h 816"/>
                <a:gd name="T72" fmla="*/ 23 w 878"/>
                <a:gd name="T73" fmla="*/ 345 h 816"/>
                <a:gd name="T74" fmla="*/ 13 w 878"/>
                <a:gd name="T75" fmla="*/ 397 h 816"/>
                <a:gd name="T76" fmla="*/ 23 w 878"/>
                <a:gd name="T77" fmla="*/ 445 h 816"/>
                <a:gd name="T78" fmla="*/ 44 w 878"/>
                <a:gd name="T79" fmla="*/ 492 h 816"/>
                <a:gd name="T80" fmla="*/ 90 w 878"/>
                <a:gd name="T81" fmla="*/ 533 h 816"/>
                <a:gd name="T82" fmla="*/ 54 w 878"/>
                <a:gd name="T83" fmla="*/ 584 h 816"/>
                <a:gd name="T84" fmla="*/ 0 w 878"/>
                <a:gd name="T85" fmla="*/ 620 h 816"/>
                <a:gd name="T86" fmla="*/ 15 w 878"/>
                <a:gd name="T87" fmla="*/ 677 h 816"/>
                <a:gd name="T88" fmla="*/ 82 w 878"/>
                <a:gd name="T89" fmla="*/ 700 h 816"/>
                <a:gd name="T90" fmla="*/ 139 w 878"/>
                <a:gd name="T91" fmla="*/ 721 h 816"/>
                <a:gd name="T92" fmla="*/ 170 w 878"/>
                <a:gd name="T93" fmla="*/ 760 h 816"/>
                <a:gd name="T94" fmla="*/ 224 w 878"/>
                <a:gd name="T95" fmla="*/ 780 h 816"/>
                <a:gd name="T96" fmla="*/ 268 w 878"/>
                <a:gd name="T97" fmla="*/ 814 h 816"/>
                <a:gd name="T98" fmla="*/ 296 w 878"/>
                <a:gd name="T99" fmla="*/ 816 h 816"/>
                <a:gd name="T100" fmla="*/ 268 w 878"/>
                <a:gd name="T101" fmla="*/ 741 h 816"/>
                <a:gd name="T102" fmla="*/ 278 w 878"/>
                <a:gd name="T103" fmla="*/ 669 h 816"/>
                <a:gd name="T104" fmla="*/ 335 w 878"/>
                <a:gd name="T105" fmla="*/ 644 h 816"/>
                <a:gd name="T106" fmla="*/ 391 w 878"/>
                <a:gd name="T107" fmla="*/ 664 h 816"/>
                <a:gd name="T108" fmla="*/ 453 w 878"/>
                <a:gd name="T109" fmla="*/ 644 h 816"/>
                <a:gd name="T110" fmla="*/ 512 w 878"/>
                <a:gd name="T111" fmla="*/ 680 h 816"/>
                <a:gd name="T112" fmla="*/ 592 w 878"/>
                <a:gd name="T113" fmla="*/ 698 h 816"/>
                <a:gd name="T114" fmla="*/ 633 w 878"/>
                <a:gd name="T115" fmla="*/ 687 h 816"/>
                <a:gd name="T116" fmla="*/ 693 w 878"/>
                <a:gd name="T117" fmla="*/ 685 h 816"/>
                <a:gd name="T118" fmla="*/ 736 w 878"/>
                <a:gd name="T119" fmla="*/ 682 h 816"/>
                <a:gd name="T120" fmla="*/ 798 w 878"/>
                <a:gd name="T121" fmla="*/ 693 h 816"/>
                <a:gd name="T122" fmla="*/ 857 w 878"/>
                <a:gd name="T123" fmla="*/ 672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8" h="816">
                  <a:moveTo>
                    <a:pt x="865" y="662"/>
                  </a:moveTo>
                  <a:lnTo>
                    <a:pt x="847" y="649"/>
                  </a:lnTo>
                  <a:lnTo>
                    <a:pt x="844" y="641"/>
                  </a:lnTo>
                  <a:lnTo>
                    <a:pt x="819" y="636"/>
                  </a:lnTo>
                  <a:lnTo>
                    <a:pt x="801" y="628"/>
                  </a:lnTo>
                  <a:lnTo>
                    <a:pt x="803" y="602"/>
                  </a:lnTo>
                  <a:lnTo>
                    <a:pt x="788" y="597"/>
                  </a:lnTo>
                  <a:lnTo>
                    <a:pt x="767" y="597"/>
                  </a:lnTo>
                  <a:lnTo>
                    <a:pt x="744" y="582"/>
                  </a:lnTo>
                  <a:lnTo>
                    <a:pt x="705" y="566"/>
                  </a:lnTo>
                  <a:lnTo>
                    <a:pt x="687" y="551"/>
                  </a:lnTo>
                  <a:lnTo>
                    <a:pt x="685" y="536"/>
                  </a:lnTo>
                  <a:lnTo>
                    <a:pt x="667" y="533"/>
                  </a:lnTo>
                  <a:lnTo>
                    <a:pt x="651" y="510"/>
                  </a:lnTo>
                  <a:lnTo>
                    <a:pt x="646" y="487"/>
                  </a:lnTo>
                  <a:lnTo>
                    <a:pt x="644" y="474"/>
                  </a:lnTo>
                  <a:lnTo>
                    <a:pt x="651" y="451"/>
                  </a:lnTo>
                  <a:lnTo>
                    <a:pt x="649" y="427"/>
                  </a:lnTo>
                  <a:lnTo>
                    <a:pt x="641" y="415"/>
                  </a:lnTo>
                  <a:lnTo>
                    <a:pt x="641" y="402"/>
                  </a:lnTo>
                  <a:lnTo>
                    <a:pt x="656" y="384"/>
                  </a:lnTo>
                  <a:lnTo>
                    <a:pt x="667" y="360"/>
                  </a:lnTo>
                  <a:lnTo>
                    <a:pt x="687" y="353"/>
                  </a:lnTo>
                  <a:lnTo>
                    <a:pt x="687" y="353"/>
                  </a:lnTo>
                  <a:lnTo>
                    <a:pt x="690" y="332"/>
                  </a:lnTo>
                  <a:lnTo>
                    <a:pt x="675" y="319"/>
                  </a:lnTo>
                  <a:lnTo>
                    <a:pt x="651" y="322"/>
                  </a:lnTo>
                  <a:lnTo>
                    <a:pt x="628" y="324"/>
                  </a:lnTo>
                  <a:lnTo>
                    <a:pt x="608" y="327"/>
                  </a:lnTo>
                  <a:lnTo>
                    <a:pt x="584" y="335"/>
                  </a:lnTo>
                  <a:lnTo>
                    <a:pt x="569" y="324"/>
                  </a:lnTo>
                  <a:lnTo>
                    <a:pt x="574" y="306"/>
                  </a:lnTo>
                  <a:lnTo>
                    <a:pt x="566" y="291"/>
                  </a:lnTo>
                  <a:lnTo>
                    <a:pt x="569" y="270"/>
                  </a:lnTo>
                  <a:lnTo>
                    <a:pt x="564" y="257"/>
                  </a:lnTo>
                  <a:lnTo>
                    <a:pt x="564" y="237"/>
                  </a:lnTo>
                  <a:lnTo>
                    <a:pt x="584" y="227"/>
                  </a:lnTo>
                  <a:lnTo>
                    <a:pt x="600" y="211"/>
                  </a:lnTo>
                  <a:lnTo>
                    <a:pt x="592" y="198"/>
                  </a:lnTo>
                  <a:lnTo>
                    <a:pt x="584" y="180"/>
                  </a:lnTo>
                  <a:lnTo>
                    <a:pt x="602" y="165"/>
                  </a:lnTo>
                  <a:lnTo>
                    <a:pt x="595" y="149"/>
                  </a:lnTo>
                  <a:lnTo>
                    <a:pt x="577" y="139"/>
                  </a:lnTo>
                  <a:lnTo>
                    <a:pt x="572" y="124"/>
                  </a:lnTo>
                  <a:lnTo>
                    <a:pt x="574" y="106"/>
                  </a:lnTo>
                  <a:lnTo>
                    <a:pt x="590" y="88"/>
                  </a:lnTo>
                  <a:lnTo>
                    <a:pt x="602" y="64"/>
                  </a:lnTo>
                  <a:lnTo>
                    <a:pt x="595" y="49"/>
                  </a:lnTo>
                  <a:lnTo>
                    <a:pt x="577" y="39"/>
                  </a:lnTo>
                  <a:lnTo>
                    <a:pt x="556" y="41"/>
                  </a:lnTo>
                  <a:lnTo>
                    <a:pt x="548" y="26"/>
                  </a:lnTo>
                  <a:lnTo>
                    <a:pt x="533" y="15"/>
                  </a:lnTo>
                  <a:lnTo>
                    <a:pt x="525" y="0"/>
                  </a:lnTo>
                  <a:lnTo>
                    <a:pt x="525" y="0"/>
                  </a:lnTo>
                  <a:lnTo>
                    <a:pt x="507" y="18"/>
                  </a:lnTo>
                  <a:lnTo>
                    <a:pt x="489" y="0"/>
                  </a:lnTo>
                  <a:lnTo>
                    <a:pt x="466" y="0"/>
                  </a:lnTo>
                  <a:lnTo>
                    <a:pt x="443" y="0"/>
                  </a:lnTo>
                  <a:lnTo>
                    <a:pt x="430" y="18"/>
                  </a:lnTo>
                  <a:lnTo>
                    <a:pt x="417" y="41"/>
                  </a:lnTo>
                  <a:lnTo>
                    <a:pt x="414" y="59"/>
                  </a:lnTo>
                  <a:lnTo>
                    <a:pt x="412" y="82"/>
                  </a:lnTo>
                  <a:lnTo>
                    <a:pt x="432" y="100"/>
                  </a:lnTo>
                  <a:lnTo>
                    <a:pt x="438" y="113"/>
                  </a:lnTo>
                  <a:lnTo>
                    <a:pt x="445" y="129"/>
                  </a:lnTo>
                  <a:lnTo>
                    <a:pt x="453" y="144"/>
                  </a:lnTo>
                  <a:lnTo>
                    <a:pt x="451" y="165"/>
                  </a:lnTo>
                  <a:lnTo>
                    <a:pt x="435" y="180"/>
                  </a:lnTo>
                  <a:lnTo>
                    <a:pt x="404" y="165"/>
                  </a:lnTo>
                  <a:lnTo>
                    <a:pt x="396" y="152"/>
                  </a:lnTo>
                  <a:lnTo>
                    <a:pt x="378" y="134"/>
                  </a:lnTo>
                  <a:lnTo>
                    <a:pt x="355" y="134"/>
                  </a:lnTo>
                  <a:lnTo>
                    <a:pt x="342" y="157"/>
                  </a:lnTo>
                  <a:lnTo>
                    <a:pt x="327" y="149"/>
                  </a:lnTo>
                  <a:lnTo>
                    <a:pt x="301" y="142"/>
                  </a:lnTo>
                  <a:lnTo>
                    <a:pt x="283" y="149"/>
                  </a:lnTo>
                  <a:lnTo>
                    <a:pt x="265" y="142"/>
                  </a:lnTo>
                  <a:lnTo>
                    <a:pt x="245" y="124"/>
                  </a:lnTo>
                  <a:lnTo>
                    <a:pt x="239" y="106"/>
                  </a:lnTo>
                  <a:lnTo>
                    <a:pt x="232" y="93"/>
                  </a:lnTo>
                  <a:lnTo>
                    <a:pt x="224" y="77"/>
                  </a:lnTo>
                  <a:lnTo>
                    <a:pt x="203" y="80"/>
                  </a:lnTo>
                  <a:lnTo>
                    <a:pt x="201" y="100"/>
                  </a:lnTo>
                  <a:lnTo>
                    <a:pt x="211" y="121"/>
                  </a:lnTo>
                  <a:lnTo>
                    <a:pt x="208" y="142"/>
                  </a:lnTo>
                  <a:lnTo>
                    <a:pt x="196" y="165"/>
                  </a:lnTo>
                  <a:lnTo>
                    <a:pt x="178" y="175"/>
                  </a:lnTo>
                  <a:lnTo>
                    <a:pt x="175" y="193"/>
                  </a:lnTo>
                  <a:lnTo>
                    <a:pt x="170" y="211"/>
                  </a:lnTo>
                  <a:lnTo>
                    <a:pt x="157" y="229"/>
                  </a:lnTo>
                  <a:lnTo>
                    <a:pt x="154" y="247"/>
                  </a:lnTo>
                  <a:lnTo>
                    <a:pt x="149" y="268"/>
                  </a:lnTo>
                  <a:lnTo>
                    <a:pt x="147" y="286"/>
                  </a:lnTo>
                  <a:lnTo>
                    <a:pt x="147" y="306"/>
                  </a:lnTo>
                  <a:lnTo>
                    <a:pt x="142" y="327"/>
                  </a:lnTo>
                  <a:lnTo>
                    <a:pt x="131" y="350"/>
                  </a:lnTo>
                  <a:lnTo>
                    <a:pt x="113" y="360"/>
                  </a:lnTo>
                  <a:lnTo>
                    <a:pt x="95" y="350"/>
                  </a:lnTo>
                  <a:lnTo>
                    <a:pt x="98" y="330"/>
                  </a:lnTo>
                  <a:lnTo>
                    <a:pt x="90" y="314"/>
                  </a:lnTo>
                  <a:lnTo>
                    <a:pt x="85" y="301"/>
                  </a:lnTo>
                  <a:lnTo>
                    <a:pt x="87" y="281"/>
                  </a:lnTo>
                  <a:lnTo>
                    <a:pt x="80" y="265"/>
                  </a:lnTo>
                  <a:lnTo>
                    <a:pt x="57" y="265"/>
                  </a:lnTo>
                  <a:lnTo>
                    <a:pt x="41" y="260"/>
                  </a:lnTo>
                  <a:lnTo>
                    <a:pt x="44" y="263"/>
                  </a:lnTo>
                  <a:lnTo>
                    <a:pt x="51" y="278"/>
                  </a:lnTo>
                  <a:lnTo>
                    <a:pt x="49" y="296"/>
                  </a:lnTo>
                  <a:lnTo>
                    <a:pt x="33" y="314"/>
                  </a:lnTo>
                  <a:lnTo>
                    <a:pt x="15" y="330"/>
                  </a:lnTo>
                  <a:lnTo>
                    <a:pt x="23" y="345"/>
                  </a:lnTo>
                  <a:lnTo>
                    <a:pt x="23" y="366"/>
                  </a:lnTo>
                  <a:lnTo>
                    <a:pt x="5" y="381"/>
                  </a:lnTo>
                  <a:lnTo>
                    <a:pt x="13" y="397"/>
                  </a:lnTo>
                  <a:lnTo>
                    <a:pt x="21" y="412"/>
                  </a:lnTo>
                  <a:lnTo>
                    <a:pt x="18" y="430"/>
                  </a:lnTo>
                  <a:lnTo>
                    <a:pt x="23" y="445"/>
                  </a:lnTo>
                  <a:lnTo>
                    <a:pt x="31" y="461"/>
                  </a:lnTo>
                  <a:lnTo>
                    <a:pt x="39" y="476"/>
                  </a:lnTo>
                  <a:lnTo>
                    <a:pt x="44" y="492"/>
                  </a:lnTo>
                  <a:lnTo>
                    <a:pt x="75" y="505"/>
                  </a:lnTo>
                  <a:lnTo>
                    <a:pt x="90" y="515"/>
                  </a:lnTo>
                  <a:lnTo>
                    <a:pt x="90" y="533"/>
                  </a:lnTo>
                  <a:lnTo>
                    <a:pt x="72" y="551"/>
                  </a:lnTo>
                  <a:lnTo>
                    <a:pt x="75" y="577"/>
                  </a:lnTo>
                  <a:lnTo>
                    <a:pt x="54" y="584"/>
                  </a:lnTo>
                  <a:lnTo>
                    <a:pt x="18" y="584"/>
                  </a:lnTo>
                  <a:lnTo>
                    <a:pt x="0" y="592"/>
                  </a:lnTo>
                  <a:lnTo>
                    <a:pt x="0" y="620"/>
                  </a:lnTo>
                  <a:lnTo>
                    <a:pt x="10" y="644"/>
                  </a:lnTo>
                  <a:lnTo>
                    <a:pt x="10" y="662"/>
                  </a:lnTo>
                  <a:lnTo>
                    <a:pt x="15" y="677"/>
                  </a:lnTo>
                  <a:lnTo>
                    <a:pt x="41" y="685"/>
                  </a:lnTo>
                  <a:lnTo>
                    <a:pt x="57" y="695"/>
                  </a:lnTo>
                  <a:lnTo>
                    <a:pt x="82" y="700"/>
                  </a:lnTo>
                  <a:lnTo>
                    <a:pt x="103" y="693"/>
                  </a:lnTo>
                  <a:lnTo>
                    <a:pt x="121" y="708"/>
                  </a:lnTo>
                  <a:lnTo>
                    <a:pt x="139" y="721"/>
                  </a:lnTo>
                  <a:lnTo>
                    <a:pt x="160" y="739"/>
                  </a:lnTo>
                  <a:lnTo>
                    <a:pt x="162" y="744"/>
                  </a:lnTo>
                  <a:lnTo>
                    <a:pt x="170" y="760"/>
                  </a:lnTo>
                  <a:lnTo>
                    <a:pt x="190" y="778"/>
                  </a:lnTo>
                  <a:lnTo>
                    <a:pt x="208" y="770"/>
                  </a:lnTo>
                  <a:lnTo>
                    <a:pt x="224" y="780"/>
                  </a:lnTo>
                  <a:lnTo>
                    <a:pt x="242" y="790"/>
                  </a:lnTo>
                  <a:lnTo>
                    <a:pt x="260" y="808"/>
                  </a:lnTo>
                  <a:lnTo>
                    <a:pt x="268" y="814"/>
                  </a:lnTo>
                  <a:lnTo>
                    <a:pt x="273" y="816"/>
                  </a:lnTo>
                  <a:lnTo>
                    <a:pt x="283" y="806"/>
                  </a:lnTo>
                  <a:lnTo>
                    <a:pt x="296" y="816"/>
                  </a:lnTo>
                  <a:lnTo>
                    <a:pt x="288" y="772"/>
                  </a:lnTo>
                  <a:lnTo>
                    <a:pt x="275" y="757"/>
                  </a:lnTo>
                  <a:lnTo>
                    <a:pt x="268" y="741"/>
                  </a:lnTo>
                  <a:lnTo>
                    <a:pt x="268" y="723"/>
                  </a:lnTo>
                  <a:lnTo>
                    <a:pt x="275" y="693"/>
                  </a:lnTo>
                  <a:lnTo>
                    <a:pt x="278" y="669"/>
                  </a:lnTo>
                  <a:lnTo>
                    <a:pt x="296" y="662"/>
                  </a:lnTo>
                  <a:lnTo>
                    <a:pt x="317" y="654"/>
                  </a:lnTo>
                  <a:lnTo>
                    <a:pt x="335" y="644"/>
                  </a:lnTo>
                  <a:lnTo>
                    <a:pt x="353" y="657"/>
                  </a:lnTo>
                  <a:lnTo>
                    <a:pt x="368" y="664"/>
                  </a:lnTo>
                  <a:lnTo>
                    <a:pt x="391" y="664"/>
                  </a:lnTo>
                  <a:lnTo>
                    <a:pt x="407" y="649"/>
                  </a:lnTo>
                  <a:lnTo>
                    <a:pt x="425" y="639"/>
                  </a:lnTo>
                  <a:lnTo>
                    <a:pt x="453" y="644"/>
                  </a:lnTo>
                  <a:lnTo>
                    <a:pt x="471" y="662"/>
                  </a:lnTo>
                  <a:lnTo>
                    <a:pt x="487" y="672"/>
                  </a:lnTo>
                  <a:lnTo>
                    <a:pt x="512" y="680"/>
                  </a:lnTo>
                  <a:lnTo>
                    <a:pt x="535" y="677"/>
                  </a:lnTo>
                  <a:lnTo>
                    <a:pt x="566" y="693"/>
                  </a:lnTo>
                  <a:lnTo>
                    <a:pt x="592" y="698"/>
                  </a:lnTo>
                  <a:lnTo>
                    <a:pt x="597" y="713"/>
                  </a:lnTo>
                  <a:lnTo>
                    <a:pt x="618" y="703"/>
                  </a:lnTo>
                  <a:lnTo>
                    <a:pt x="633" y="687"/>
                  </a:lnTo>
                  <a:lnTo>
                    <a:pt x="651" y="677"/>
                  </a:lnTo>
                  <a:lnTo>
                    <a:pt x="675" y="677"/>
                  </a:lnTo>
                  <a:lnTo>
                    <a:pt x="693" y="685"/>
                  </a:lnTo>
                  <a:lnTo>
                    <a:pt x="698" y="703"/>
                  </a:lnTo>
                  <a:lnTo>
                    <a:pt x="718" y="700"/>
                  </a:lnTo>
                  <a:lnTo>
                    <a:pt x="736" y="682"/>
                  </a:lnTo>
                  <a:lnTo>
                    <a:pt x="754" y="675"/>
                  </a:lnTo>
                  <a:lnTo>
                    <a:pt x="780" y="682"/>
                  </a:lnTo>
                  <a:lnTo>
                    <a:pt x="798" y="693"/>
                  </a:lnTo>
                  <a:lnTo>
                    <a:pt x="816" y="682"/>
                  </a:lnTo>
                  <a:lnTo>
                    <a:pt x="834" y="672"/>
                  </a:lnTo>
                  <a:lnTo>
                    <a:pt x="857" y="672"/>
                  </a:lnTo>
                  <a:lnTo>
                    <a:pt x="878" y="662"/>
                  </a:lnTo>
                  <a:lnTo>
                    <a:pt x="865" y="662"/>
                  </a:lnTo>
                  <a:close/>
                </a:path>
              </a:pathLst>
            </a:custGeom>
            <a:solidFill>
              <a:srgbClr val="92D05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C8B95173-0D40-9541-BED2-58C9A8705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4338" y="1046273"/>
              <a:ext cx="735826" cy="867805"/>
            </a:xfrm>
            <a:custGeom>
              <a:avLst/>
              <a:gdLst>
                <a:gd name="T0" fmla="*/ 327 w 814"/>
                <a:gd name="T1" fmla="*/ 924 h 960"/>
                <a:gd name="T2" fmla="*/ 265 w 814"/>
                <a:gd name="T3" fmla="*/ 945 h 960"/>
                <a:gd name="T4" fmla="*/ 198 w 814"/>
                <a:gd name="T5" fmla="*/ 947 h 960"/>
                <a:gd name="T6" fmla="*/ 121 w 814"/>
                <a:gd name="T7" fmla="*/ 903 h 960"/>
                <a:gd name="T8" fmla="*/ 98 w 814"/>
                <a:gd name="T9" fmla="*/ 857 h 960"/>
                <a:gd name="T10" fmla="*/ 80 w 814"/>
                <a:gd name="T11" fmla="*/ 813 h 960"/>
                <a:gd name="T12" fmla="*/ 106 w 814"/>
                <a:gd name="T13" fmla="*/ 746 h 960"/>
                <a:gd name="T14" fmla="*/ 129 w 814"/>
                <a:gd name="T15" fmla="*/ 697 h 960"/>
                <a:gd name="T16" fmla="*/ 108 w 814"/>
                <a:gd name="T17" fmla="*/ 654 h 960"/>
                <a:gd name="T18" fmla="*/ 44 w 814"/>
                <a:gd name="T19" fmla="*/ 638 h 960"/>
                <a:gd name="T20" fmla="*/ 23 w 814"/>
                <a:gd name="T21" fmla="*/ 594 h 960"/>
                <a:gd name="T22" fmla="*/ 13 w 814"/>
                <a:gd name="T23" fmla="*/ 546 h 960"/>
                <a:gd name="T24" fmla="*/ 72 w 814"/>
                <a:gd name="T25" fmla="*/ 525 h 960"/>
                <a:gd name="T26" fmla="*/ 139 w 814"/>
                <a:gd name="T27" fmla="*/ 494 h 960"/>
                <a:gd name="T28" fmla="*/ 147 w 814"/>
                <a:gd name="T29" fmla="*/ 435 h 960"/>
                <a:gd name="T30" fmla="*/ 155 w 814"/>
                <a:gd name="T31" fmla="*/ 404 h 960"/>
                <a:gd name="T32" fmla="*/ 214 w 814"/>
                <a:gd name="T33" fmla="*/ 376 h 960"/>
                <a:gd name="T34" fmla="*/ 273 w 814"/>
                <a:gd name="T35" fmla="*/ 358 h 960"/>
                <a:gd name="T36" fmla="*/ 335 w 814"/>
                <a:gd name="T37" fmla="*/ 337 h 960"/>
                <a:gd name="T38" fmla="*/ 361 w 814"/>
                <a:gd name="T39" fmla="*/ 296 h 960"/>
                <a:gd name="T40" fmla="*/ 330 w 814"/>
                <a:gd name="T41" fmla="*/ 229 h 960"/>
                <a:gd name="T42" fmla="*/ 337 w 814"/>
                <a:gd name="T43" fmla="*/ 219 h 960"/>
                <a:gd name="T44" fmla="*/ 384 w 814"/>
                <a:gd name="T45" fmla="*/ 167 h 960"/>
                <a:gd name="T46" fmla="*/ 404 w 814"/>
                <a:gd name="T47" fmla="*/ 113 h 960"/>
                <a:gd name="T48" fmla="*/ 412 w 814"/>
                <a:gd name="T49" fmla="*/ 54 h 960"/>
                <a:gd name="T50" fmla="*/ 446 w 814"/>
                <a:gd name="T51" fmla="*/ 2 h 960"/>
                <a:gd name="T52" fmla="*/ 482 w 814"/>
                <a:gd name="T53" fmla="*/ 31 h 960"/>
                <a:gd name="T54" fmla="*/ 536 w 814"/>
                <a:gd name="T55" fmla="*/ 69 h 960"/>
                <a:gd name="T56" fmla="*/ 574 w 814"/>
                <a:gd name="T57" fmla="*/ 105 h 960"/>
                <a:gd name="T58" fmla="*/ 597 w 814"/>
                <a:gd name="T59" fmla="*/ 131 h 960"/>
                <a:gd name="T60" fmla="*/ 564 w 814"/>
                <a:gd name="T61" fmla="*/ 183 h 960"/>
                <a:gd name="T62" fmla="*/ 554 w 814"/>
                <a:gd name="T63" fmla="*/ 234 h 960"/>
                <a:gd name="T64" fmla="*/ 567 w 814"/>
                <a:gd name="T65" fmla="*/ 283 h 960"/>
                <a:gd name="T66" fmla="*/ 585 w 814"/>
                <a:gd name="T67" fmla="*/ 329 h 960"/>
                <a:gd name="T68" fmla="*/ 639 w 814"/>
                <a:gd name="T69" fmla="*/ 368 h 960"/>
                <a:gd name="T70" fmla="*/ 621 w 814"/>
                <a:gd name="T71" fmla="*/ 430 h 960"/>
                <a:gd name="T72" fmla="*/ 546 w 814"/>
                <a:gd name="T73" fmla="*/ 445 h 960"/>
                <a:gd name="T74" fmla="*/ 556 w 814"/>
                <a:gd name="T75" fmla="*/ 515 h 960"/>
                <a:gd name="T76" fmla="*/ 605 w 814"/>
                <a:gd name="T77" fmla="*/ 548 h 960"/>
                <a:gd name="T78" fmla="*/ 667 w 814"/>
                <a:gd name="T79" fmla="*/ 561 h 960"/>
                <a:gd name="T80" fmla="*/ 708 w 814"/>
                <a:gd name="T81" fmla="*/ 597 h 960"/>
                <a:gd name="T82" fmla="*/ 754 w 814"/>
                <a:gd name="T83" fmla="*/ 623 h 960"/>
                <a:gd name="T84" fmla="*/ 806 w 814"/>
                <a:gd name="T85" fmla="*/ 661 h 960"/>
                <a:gd name="T86" fmla="*/ 801 w 814"/>
                <a:gd name="T87" fmla="*/ 679 h 960"/>
                <a:gd name="T88" fmla="*/ 780 w 814"/>
                <a:gd name="T89" fmla="*/ 734 h 960"/>
                <a:gd name="T90" fmla="*/ 747 w 814"/>
                <a:gd name="T91" fmla="*/ 734 h 960"/>
                <a:gd name="T92" fmla="*/ 695 w 814"/>
                <a:gd name="T93" fmla="*/ 723 h 960"/>
                <a:gd name="T94" fmla="*/ 644 w 814"/>
                <a:gd name="T95" fmla="*/ 757 h 960"/>
                <a:gd name="T96" fmla="*/ 597 w 814"/>
                <a:gd name="T97" fmla="*/ 759 h 960"/>
                <a:gd name="T98" fmla="*/ 541 w 814"/>
                <a:gd name="T99" fmla="*/ 788 h 960"/>
                <a:gd name="T100" fmla="*/ 492 w 814"/>
                <a:gd name="T101" fmla="*/ 782 h 960"/>
                <a:gd name="T102" fmla="*/ 471 w 814"/>
                <a:gd name="T103" fmla="*/ 836 h 960"/>
                <a:gd name="T104" fmla="*/ 448 w 814"/>
                <a:gd name="T105" fmla="*/ 885 h 960"/>
                <a:gd name="T106" fmla="*/ 438 w 814"/>
                <a:gd name="T107" fmla="*/ 945 h 960"/>
                <a:gd name="T108" fmla="*/ 376 w 814"/>
                <a:gd name="T109" fmla="*/ 955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4" h="960">
                  <a:moveTo>
                    <a:pt x="340" y="957"/>
                  </a:moveTo>
                  <a:lnTo>
                    <a:pt x="332" y="939"/>
                  </a:lnTo>
                  <a:lnTo>
                    <a:pt x="327" y="924"/>
                  </a:lnTo>
                  <a:lnTo>
                    <a:pt x="299" y="916"/>
                  </a:lnTo>
                  <a:lnTo>
                    <a:pt x="281" y="927"/>
                  </a:lnTo>
                  <a:lnTo>
                    <a:pt x="265" y="945"/>
                  </a:lnTo>
                  <a:lnTo>
                    <a:pt x="242" y="945"/>
                  </a:lnTo>
                  <a:lnTo>
                    <a:pt x="221" y="947"/>
                  </a:lnTo>
                  <a:lnTo>
                    <a:pt x="198" y="947"/>
                  </a:lnTo>
                  <a:lnTo>
                    <a:pt x="155" y="932"/>
                  </a:lnTo>
                  <a:lnTo>
                    <a:pt x="139" y="921"/>
                  </a:lnTo>
                  <a:lnTo>
                    <a:pt x="121" y="903"/>
                  </a:lnTo>
                  <a:lnTo>
                    <a:pt x="103" y="893"/>
                  </a:lnTo>
                  <a:lnTo>
                    <a:pt x="98" y="878"/>
                  </a:lnTo>
                  <a:lnTo>
                    <a:pt x="98" y="857"/>
                  </a:lnTo>
                  <a:lnTo>
                    <a:pt x="100" y="839"/>
                  </a:lnTo>
                  <a:lnTo>
                    <a:pt x="95" y="824"/>
                  </a:lnTo>
                  <a:lnTo>
                    <a:pt x="80" y="813"/>
                  </a:lnTo>
                  <a:lnTo>
                    <a:pt x="77" y="788"/>
                  </a:lnTo>
                  <a:lnTo>
                    <a:pt x="90" y="762"/>
                  </a:lnTo>
                  <a:lnTo>
                    <a:pt x="106" y="746"/>
                  </a:lnTo>
                  <a:lnTo>
                    <a:pt x="121" y="728"/>
                  </a:lnTo>
                  <a:lnTo>
                    <a:pt x="137" y="713"/>
                  </a:lnTo>
                  <a:lnTo>
                    <a:pt x="129" y="697"/>
                  </a:lnTo>
                  <a:lnTo>
                    <a:pt x="113" y="687"/>
                  </a:lnTo>
                  <a:lnTo>
                    <a:pt x="116" y="669"/>
                  </a:lnTo>
                  <a:lnTo>
                    <a:pt x="108" y="654"/>
                  </a:lnTo>
                  <a:lnTo>
                    <a:pt x="93" y="641"/>
                  </a:lnTo>
                  <a:lnTo>
                    <a:pt x="70" y="643"/>
                  </a:lnTo>
                  <a:lnTo>
                    <a:pt x="44" y="638"/>
                  </a:lnTo>
                  <a:lnTo>
                    <a:pt x="28" y="628"/>
                  </a:lnTo>
                  <a:lnTo>
                    <a:pt x="21" y="613"/>
                  </a:lnTo>
                  <a:lnTo>
                    <a:pt x="23" y="594"/>
                  </a:lnTo>
                  <a:lnTo>
                    <a:pt x="26" y="574"/>
                  </a:lnTo>
                  <a:lnTo>
                    <a:pt x="0" y="569"/>
                  </a:lnTo>
                  <a:lnTo>
                    <a:pt x="13" y="546"/>
                  </a:lnTo>
                  <a:lnTo>
                    <a:pt x="34" y="543"/>
                  </a:lnTo>
                  <a:lnTo>
                    <a:pt x="54" y="533"/>
                  </a:lnTo>
                  <a:lnTo>
                    <a:pt x="72" y="525"/>
                  </a:lnTo>
                  <a:lnTo>
                    <a:pt x="93" y="515"/>
                  </a:lnTo>
                  <a:lnTo>
                    <a:pt x="121" y="502"/>
                  </a:lnTo>
                  <a:lnTo>
                    <a:pt x="139" y="494"/>
                  </a:lnTo>
                  <a:lnTo>
                    <a:pt x="152" y="468"/>
                  </a:lnTo>
                  <a:lnTo>
                    <a:pt x="144" y="453"/>
                  </a:lnTo>
                  <a:lnTo>
                    <a:pt x="147" y="435"/>
                  </a:lnTo>
                  <a:lnTo>
                    <a:pt x="162" y="419"/>
                  </a:lnTo>
                  <a:lnTo>
                    <a:pt x="155" y="404"/>
                  </a:lnTo>
                  <a:lnTo>
                    <a:pt x="155" y="404"/>
                  </a:lnTo>
                  <a:lnTo>
                    <a:pt x="170" y="386"/>
                  </a:lnTo>
                  <a:lnTo>
                    <a:pt x="191" y="378"/>
                  </a:lnTo>
                  <a:lnTo>
                    <a:pt x="214" y="376"/>
                  </a:lnTo>
                  <a:lnTo>
                    <a:pt x="229" y="360"/>
                  </a:lnTo>
                  <a:lnTo>
                    <a:pt x="245" y="350"/>
                  </a:lnTo>
                  <a:lnTo>
                    <a:pt x="273" y="358"/>
                  </a:lnTo>
                  <a:lnTo>
                    <a:pt x="299" y="363"/>
                  </a:lnTo>
                  <a:lnTo>
                    <a:pt x="319" y="355"/>
                  </a:lnTo>
                  <a:lnTo>
                    <a:pt x="335" y="337"/>
                  </a:lnTo>
                  <a:lnTo>
                    <a:pt x="353" y="329"/>
                  </a:lnTo>
                  <a:lnTo>
                    <a:pt x="368" y="314"/>
                  </a:lnTo>
                  <a:lnTo>
                    <a:pt x="361" y="296"/>
                  </a:lnTo>
                  <a:lnTo>
                    <a:pt x="363" y="278"/>
                  </a:lnTo>
                  <a:lnTo>
                    <a:pt x="345" y="260"/>
                  </a:lnTo>
                  <a:lnTo>
                    <a:pt x="330" y="229"/>
                  </a:lnTo>
                  <a:lnTo>
                    <a:pt x="337" y="219"/>
                  </a:lnTo>
                  <a:lnTo>
                    <a:pt x="337" y="219"/>
                  </a:lnTo>
                  <a:lnTo>
                    <a:pt x="337" y="219"/>
                  </a:lnTo>
                  <a:lnTo>
                    <a:pt x="350" y="203"/>
                  </a:lnTo>
                  <a:lnTo>
                    <a:pt x="371" y="193"/>
                  </a:lnTo>
                  <a:lnTo>
                    <a:pt x="384" y="167"/>
                  </a:lnTo>
                  <a:lnTo>
                    <a:pt x="376" y="154"/>
                  </a:lnTo>
                  <a:lnTo>
                    <a:pt x="389" y="131"/>
                  </a:lnTo>
                  <a:lnTo>
                    <a:pt x="404" y="113"/>
                  </a:lnTo>
                  <a:lnTo>
                    <a:pt x="417" y="90"/>
                  </a:lnTo>
                  <a:lnTo>
                    <a:pt x="409" y="74"/>
                  </a:lnTo>
                  <a:lnTo>
                    <a:pt x="412" y="54"/>
                  </a:lnTo>
                  <a:lnTo>
                    <a:pt x="409" y="28"/>
                  </a:lnTo>
                  <a:lnTo>
                    <a:pt x="425" y="10"/>
                  </a:lnTo>
                  <a:lnTo>
                    <a:pt x="446" y="2"/>
                  </a:lnTo>
                  <a:lnTo>
                    <a:pt x="466" y="0"/>
                  </a:lnTo>
                  <a:lnTo>
                    <a:pt x="476" y="15"/>
                  </a:lnTo>
                  <a:lnTo>
                    <a:pt x="482" y="31"/>
                  </a:lnTo>
                  <a:lnTo>
                    <a:pt x="489" y="46"/>
                  </a:lnTo>
                  <a:lnTo>
                    <a:pt x="528" y="54"/>
                  </a:lnTo>
                  <a:lnTo>
                    <a:pt x="536" y="69"/>
                  </a:lnTo>
                  <a:lnTo>
                    <a:pt x="543" y="85"/>
                  </a:lnTo>
                  <a:lnTo>
                    <a:pt x="567" y="90"/>
                  </a:lnTo>
                  <a:lnTo>
                    <a:pt x="574" y="105"/>
                  </a:lnTo>
                  <a:lnTo>
                    <a:pt x="590" y="116"/>
                  </a:lnTo>
                  <a:lnTo>
                    <a:pt x="590" y="116"/>
                  </a:lnTo>
                  <a:lnTo>
                    <a:pt x="597" y="131"/>
                  </a:lnTo>
                  <a:lnTo>
                    <a:pt x="595" y="149"/>
                  </a:lnTo>
                  <a:lnTo>
                    <a:pt x="579" y="167"/>
                  </a:lnTo>
                  <a:lnTo>
                    <a:pt x="564" y="183"/>
                  </a:lnTo>
                  <a:lnTo>
                    <a:pt x="572" y="198"/>
                  </a:lnTo>
                  <a:lnTo>
                    <a:pt x="569" y="219"/>
                  </a:lnTo>
                  <a:lnTo>
                    <a:pt x="554" y="234"/>
                  </a:lnTo>
                  <a:lnTo>
                    <a:pt x="559" y="250"/>
                  </a:lnTo>
                  <a:lnTo>
                    <a:pt x="567" y="265"/>
                  </a:lnTo>
                  <a:lnTo>
                    <a:pt x="567" y="283"/>
                  </a:lnTo>
                  <a:lnTo>
                    <a:pt x="572" y="298"/>
                  </a:lnTo>
                  <a:lnTo>
                    <a:pt x="577" y="314"/>
                  </a:lnTo>
                  <a:lnTo>
                    <a:pt x="585" y="329"/>
                  </a:lnTo>
                  <a:lnTo>
                    <a:pt x="590" y="345"/>
                  </a:lnTo>
                  <a:lnTo>
                    <a:pt x="621" y="358"/>
                  </a:lnTo>
                  <a:lnTo>
                    <a:pt x="639" y="368"/>
                  </a:lnTo>
                  <a:lnTo>
                    <a:pt x="636" y="386"/>
                  </a:lnTo>
                  <a:lnTo>
                    <a:pt x="621" y="404"/>
                  </a:lnTo>
                  <a:lnTo>
                    <a:pt x="621" y="430"/>
                  </a:lnTo>
                  <a:lnTo>
                    <a:pt x="600" y="437"/>
                  </a:lnTo>
                  <a:lnTo>
                    <a:pt x="567" y="437"/>
                  </a:lnTo>
                  <a:lnTo>
                    <a:pt x="546" y="445"/>
                  </a:lnTo>
                  <a:lnTo>
                    <a:pt x="548" y="473"/>
                  </a:lnTo>
                  <a:lnTo>
                    <a:pt x="556" y="497"/>
                  </a:lnTo>
                  <a:lnTo>
                    <a:pt x="556" y="515"/>
                  </a:lnTo>
                  <a:lnTo>
                    <a:pt x="561" y="530"/>
                  </a:lnTo>
                  <a:lnTo>
                    <a:pt x="587" y="538"/>
                  </a:lnTo>
                  <a:lnTo>
                    <a:pt x="605" y="548"/>
                  </a:lnTo>
                  <a:lnTo>
                    <a:pt x="631" y="553"/>
                  </a:lnTo>
                  <a:lnTo>
                    <a:pt x="649" y="546"/>
                  </a:lnTo>
                  <a:lnTo>
                    <a:pt x="667" y="561"/>
                  </a:lnTo>
                  <a:lnTo>
                    <a:pt x="685" y="574"/>
                  </a:lnTo>
                  <a:lnTo>
                    <a:pt x="706" y="592"/>
                  </a:lnTo>
                  <a:lnTo>
                    <a:pt x="708" y="597"/>
                  </a:lnTo>
                  <a:lnTo>
                    <a:pt x="716" y="613"/>
                  </a:lnTo>
                  <a:lnTo>
                    <a:pt x="736" y="631"/>
                  </a:lnTo>
                  <a:lnTo>
                    <a:pt x="754" y="623"/>
                  </a:lnTo>
                  <a:lnTo>
                    <a:pt x="770" y="633"/>
                  </a:lnTo>
                  <a:lnTo>
                    <a:pt x="788" y="643"/>
                  </a:lnTo>
                  <a:lnTo>
                    <a:pt x="806" y="661"/>
                  </a:lnTo>
                  <a:lnTo>
                    <a:pt x="811" y="667"/>
                  </a:lnTo>
                  <a:lnTo>
                    <a:pt x="814" y="669"/>
                  </a:lnTo>
                  <a:lnTo>
                    <a:pt x="801" y="679"/>
                  </a:lnTo>
                  <a:lnTo>
                    <a:pt x="791" y="697"/>
                  </a:lnTo>
                  <a:lnTo>
                    <a:pt x="783" y="713"/>
                  </a:lnTo>
                  <a:lnTo>
                    <a:pt x="780" y="734"/>
                  </a:lnTo>
                  <a:lnTo>
                    <a:pt x="783" y="736"/>
                  </a:lnTo>
                  <a:lnTo>
                    <a:pt x="754" y="752"/>
                  </a:lnTo>
                  <a:lnTo>
                    <a:pt x="747" y="734"/>
                  </a:lnTo>
                  <a:lnTo>
                    <a:pt x="731" y="726"/>
                  </a:lnTo>
                  <a:lnTo>
                    <a:pt x="716" y="713"/>
                  </a:lnTo>
                  <a:lnTo>
                    <a:pt x="695" y="723"/>
                  </a:lnTo>
                  <a:lnTo>
                    <a:pt x="680" y="739"/>
                  </a:lnTo>
                  <a:lnTo>
                    <a:pt x="662" y="746"/>
                  </a:lnTo>
                  <a:lnTo>
                    <a:pt x="644" y="757"/>
                  </a:lnTo>
                  <a:lnTo>
                    <a:pt x="623" y="767"/>
                  </a:lnTo>
                  <a:lnTo>
                    <a:pt x="615" y="752"/>
                  </a:lnTo>
                  <a:lnTo>
                    <a:pt x="597" y="759"/>
                  </a:lnTo>
                  <a:lnTo>
                    <a:pt x="582" y="777"/>
                  </a:lnTo>
                  <a:lnTo>
                    <a:pt x="561" y="785"/>
                  </a:lnTo>
                  <a:lnTo>
                    <a:pt x="541" y="788"/>
                  </a:lnTo>
                  <a:lnTo>
                    <a:pt x="525" y="803"/>
                  </a:lnTo>
                  <a:lnTo>
                    <a:pt x="518" y="788"/>
                  </a:lnTo>
                  <a:lnTo>
                    <a:pt x="492" y="782"/>
                  </a:lnTo>
                  <a:lnTo>
                    <a:pt x="489" y="800"/>
                  </a:lnTo>
                  <a:lnTo>
                    <a:pt x="484" y="813"/>
                  </a:lnTo>
                  <a:lnTo>
                    <a:pt x="471" y="836"/>
                  </a:lnTo>
                  <a:lnTo>
                    <a:pt x="453" y="844"/>
                  </a:lnTo>
                  <a:lnTo>
                    <a:pt x="440" y="870"/>
                  </a:lnTo>
                  <a:lnTo>
                    <a:pt x="448" y="885"/>
                  </a:lnTo>
                  <a:lnTo>
                    <a:pt x="453" y="901"/>
                  </a:lnTo>
                  <a:lnTo>
                    <a:pt x="451" y="919"/>
                  </a:lnTo>
                  <a:lnTo>
                    <a:pt x="438" y="945"/>
                  </a:lnTo>
                  <a:lnTo>
                    <a:pt x="420" y="952"/>
                  </a:lnTo>
                  <a:lnTo>
                    <a:pt x="402" y="960"/>
                  </a:lnTo>
                  <a:lnTo>
                    <a:pt x="376" y="955"/>
                  </a:lnTo>
                  <a:lnTo>
                    <a:pt x="350" y="950"/>
                  </a:lnTo>
                  <a:lnTo>
                    <a:pt x="340" y="957"/>
                  </a:lnTo>
                  <a:close/>
                </a:path>
              </a:pathLst>
            </a:custGeom>
            <a:solidFill>
              <a:srgbClr val="92D05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E55BE355-36BC-66E4-8C25-BEEE11068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1344" y="1216218"/>
              <a:ext cx="285652" cy="195256"/>
            </a:xfrm>
            <a:custGeom>
              <a:avLst/>
              <a:gdLst>
                <a:gd name="T0" fmla="*/ 285 w 316"/>
                <a:gd name="T1" fmla="*/ 31 h 216"/>
                <a:gd name="T2" fmla="*/ 280 w 316"/>
                <a:gd name="T3" fmla="*/ 41 h 216"/>
                <a:gd name="T4" fmla="*/ 293 w 316"/>
                <a:gd name="T5" fmla="*/ 72 h 216"/>
                <a:gd name="T6" fmla="*/ 314 w 316"/>
                <a:gd name="T7" fmla="*/ 90 h 216"/>
                <a:gd name="T8" fmla="*/ 309 w 316"/>
                <a:gd name="T9" fmla="*/ 108 h 216"/>
                <a:gd name="T10" fmla="*/ 316 w 316"/>
                <a:gd name="T11" fmla="*/ 126 h 216"/>
                <a:gd name="T12" fmla="*/ 301 w 316"/>
                <a:gd name="T13" fmla="*/ 141 h 216"/>
                <a:gd name="T14" fmla="*/ 283 w 316"/>
                <a:gd name="T15" fmla="*/ 149 h 216"/>
                <a:gd name="T16" fmla="*/ 267 w 316"/>
                <a:gd name="T17" fmla="*/ 167 h 216"/>
                <a:gd name="T18" fmla="*/ 247 w 316"/>
                <a:gd name="T19" fmla="*/ 175 h 216"/>
                <a:gd name="T20" fmla="*/ 224 w 316"/>
                <a:gd name="T21" fmla="*/ 170 h 216"/>
                <a:gd name="T22" fmla="*/ 195 w 316"/>
                <a:gd name="T23" fmla="*/ 162 h 216"/>
                <a:gd name="T24" fmla="*/ 177 w 316"/>
                <a:gd name="T25" fmla="*/ 172 h 216"/>
                <a:gd name="T26" fmla="*/ 162 w 316"/>
                <a:gd name="T27" fmla="*/ 188 h 216"/>
                <a:gd name="T28" fmla="*/ 141 w 316"/>
                <a:gd name="T29" fmla="*/ 190 h 216"/>
                <a:gd name="T30" fmla="*/ 121 w 316"/>
                <a:gd name="T31" fmla="*/ 198 h 216"/>
                <a:gd name="T32" fmla="*/ 105 w 316"/>
                <a:gd name="T33" fmla="*/ 216 h 216"/>
                <a:gd name="T34" fmla="*/ 103 w 316"/>
                <a:gd name="T35" fmla="*/ 216 h 216"/>
                <a:gd name="T36" fmla="*/ 92 w 316"/>
                <a:gd name="T37" fmla="*/ 211 h 216"/>
                <a:gd name="T38" fmla="*/ 64 w 316"/>
                <a:gd name="T39" fmla="*/ 206 h 216"/>
                <a:gd name="T40" fmla="*/ 48 w 316"/>
                <a:gd name="T41" fmla="*/ 198 h 216"/>
                <a:gd name="T42" fmla="*/ 43 w 316"/>
                <a:gd name="T43" fmla="*/ 183 h 216"/>
                <a:gd name="T44" fmla="*/ 46 w 316"/>
                <a:gd name="T45" fmla="*/ 162 h 216"/>
                <a:gd name="T46" fmla="*/ 46 w 316"/>
                <a:gd name="T47" fmla="*/ 144 h 216"/>
                <a:gd name="T48" fmla="*/ 36 w 316"/>
                <a:gd name="T49" fmla="*/ 118 h 216"/>
                <a:gd name="T50" fmla="*/ 30 w 316"/>
                <a:gd name="T51" fmla="*/ 105 h 216"/>
                <a:gd name="T52" fmla="*/ 12 w 316"/>
                <a:gd name="T53" fmla="*/ 95 h 216"/>
                <a:gd name="T54" fmla="*/ 7 w 316"/>
                <a:gd name="T55" fmla="*/ 80 h 216"/>
                <a:gd name="T56" fmla="*/ 0 w 316"/>
                <a:gd name="T57" fmla="*/ 64 h 216"/>
                <a:gd name="T58" fmla="*/ 23 w 316"/>
                <a:gd name="T59" fmla="*/ 64 h 216"/>
                <a:gd name="T60" fmla="*/ 41 w 316"/>
                <a:gd name="T61" fmla="*/ 54 h 216"/>
                <a:gd name="T62" fmla="*/ 51 w 316"/>
                <a:gd name="T63" fmla="*/ 49 h 216"/>
                <a:gd name="T64" fmla="*/ 69 w 316"/>
                <a:gd name="T65" fmla="*/ 41 h 216"/>
                <a:gd name="T66" fmla="*/ 92 w 316"/>
                <a:gd name="T67" fmla="*/ 38 h 216"/>
                <a:gd name="T68" fmla="*/ 110 w 316"/>
                <a:gd name="T69" fmla="*/ 28 h 216"/>
                <a:gd name="T70" fmla="*/ 126 w 316"/>
                <a:gd name="T71" fmla="*/ 15 h 216"/>
                <a:gd name="T72" fmla="*/ 149 w 316"/>
                <a:gd name="T73" fmla="*/ 13 h 216"/>
                <a:gd name="T74" fmla="*/ 175 w 316"/>
                <a:gd name="T75" fmla="*/ 18 h 216"/>
                <a:gd name="T76" fmla="*/ 190 w 316"/>
                <a:gd name="T77" fmla="*/ 0 h 216"/>
                <a:gd name="T78" fmla="*/ 213 w 316"/>
                <a:gd name="T79" fmla="*/ 0 h 216"/>
                <a:gd name="T80" fmla="*/ 218 w 316"/>
                <a:gd name="T81" fmla="*/ 15 h 216"/>
                <a:gd name="T82" fmla="*/ 226 w 316"/>
                <a:gd name="T83" fmla="*/ 31 h 216"/>
                <a:gd name="T84" fmla="*/ 252 w 316"/>
                <a:gd name="T85" fmla="*/ 36 h 216"/>
                <a:gd name="T86" fmla="*/ 267 w 316"/>
                <a:gd name="T87" fmla="*/ 20 h 216"/>
                <a:gd name="T88" fmla="*/ 291 w 316"/>
                <a:gd name="T89" fmla="*/ 25 h 216"/>
                <a:gd name="T90" fmla="*/ 285 w 316"/>
                <a:gd name="T91" fmla="*/ 31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6" h="216">
                  <a:moveTo>
                    <a:pt x="285" y="31"/>
                  </a:moveTo>
                  <a:lnTo>
                    <a:pt x="280" y="41"/>
                  </a:lnTo>
                  <a:lnTo>
                    <a:pt x="293" y="72"/>
                  </a:lnTo>
                  <a:lnTo>
                    <a:pt x="314" y="90"/>
                  </a:lnTo>
                  <a:lnTo>
                    <a:pt x="309" y="108"/>
                  </a:lnTo>
                  <a:lnTo>
                    <a:pt x="316" y="126"/>
                  </a:lnTo>
                  <a:lnTo>
                    <a:pt x="301" y="141"/>
                  </a:lnTo>
                  <a:lnTo>
                    <a:pt x="283" y="149"/>
                  </a:lnTo>
                  <a:lnTo>
                    <a:pt x="267" y="167"/>
                  </a:lnTo>
                  <a:lnTo>
                    <a:pt x="247" y="175"/>
                  </a:lnTo>
                  <a:lnTo>
                    <a:pt x="224" y="170"/>
                  </a:lnTo>
                  <a:lnTo>
                    <a:pt x="195" y="162"/>
                  </a:lnTo>
                  <a:lnTo>
                    <a:pt x="177" y="172"/>
                  </a:lnTo>
                  <a:lnTo>
                    <a:pt x="162" y="188"/>
                  </a:lnTo>
                  <a:lnTo>
                    <a:pt x="141" y="190"/>
                  </a:lnTo>
                  <a:lnTo>
                    <a:pt x="121" y="198"/>
                  </a:lnTo>
                  <a:lnTo>
                    <a:pt x="105" y="216"/>
                  </a:lnTo>
                  <a:lnTo>
                    <a:pt x="103" y="216"/>
                  </a:lnTo>
                  <a:lnTo>
                    <a:pt x="92" y="211"/>
                  </a:lnTo>
                  <a:lnTo>
                    <a:pt x="64" y="206"/>
                  </a:lnTo>
                  <a:lnTo>
                    <a:pt x="48" y="198"/>
                  </a:lnTo>
                  <a:lnTo>
                    <a:pt x="43" y="183"/>
                  </a:lnTo>
                  <a:lnTo>
                    <a:pt x="46" y="162"/>
                  </a:lnTo>
                  <a:lnTo>
                    <a:pt x="46" y="144"/>
                  </a:lnTo>
                  <a:lnTo>
                    <a:pt x="36" y="118"/>
                  </a:lnTo>
                  <a:lnTo>
                    <a:pt x="30" y="105"/>
                  </a:lnTo>
                  <a:lnTo>
                    <a:pt x="12" y="95"/>
                  </a:lnTo>
                  <a:lnTo>
                    <a:pt x="7" y="80"/>
                  </a:lnTo>
                  <a:lnTo>
                    <a:pt x="0" y="64"/>
                  </a:lnTo>
                  <a:lnTo>
                    <a:pt x="23" y="64"/>
                  </a:lnTo>
                  <a:lnTo>
                    <a:pt x="41" y="54"/>
                  </a:lnTo>
                  <a:lnTo>
                    <a:pt x="51" y="49"/>
                  </a:lnTo>
                  <a:lnTo>
                    <a:pt x="69" y="41"/>
                  </a:lnTo>
                  <a:lnTo>
                    <a:pt x="92" y="38"/>
                  </a:lnTo>
                  <a:lnTo>
                    <a:pt x="110" y="28"/>
                  </a:lnTo>
                  <a:lnTo>
                    <a:pt x="126" y="15"/>
                  </a:lnTo>
                  <a:lnTo>
                    <a:pt x="149" y="13"/>
                  </a:lnTo>
                  <a:lnTo>
                    <a:pt x="175" y="18"/>
                  </a:lnTo>
                  <a:lnTo>
                    <a:pt x="190" y="0"/>
                  </a:lnTo>
                  <a:lnTo>
                    <a:pt x="213" y="0"/>
                  </a:lnTo>
                  <a:lnTo>
                    <a:pt x="218" y="15"/>
                  </a:lnTo>
                  <a:lnTo>
                    <a:pt x="226" y="31"/>
                  </a:lnTo>
                  <a:lnTo>
                    <a:pt x="252" y="36"/>
                  </a:lnTo>
                  <a:lnTo>
                    <a:pt x="267" y="20"/>
                  </a:lnTo>
                  <a:lnTo>
                    <a:pt x="291" y="25"/>
                  </a:lnTo>
                  <a:lnTo>
                    <a:pt x="285" y="3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795208FA-7C84-8443-88E8-1B7F48581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1911" y="1690798"/>
              <a:ext cx="658990" cy="344410"/>
            </a:xfrm>
            <a:custGeom>
              <a:avLst/>
              <a:gdLst>
                <a:gd name="T0" fmla="*/ 36 w 729"/>
                <a:gd name="T1" fmla="*/ 373 h 381"/>
                <a:gd name="T2" fmla="*/ 77 w 729"/>
                <a:gd name="T3" fmla="*/ 363 h 381"/>
                <a:gd name="T4" fmla="*/ 124 w 729"/>
                <a:gd name="T5" fmla="*/ 340 h 381"/>
                <a:gd name="T6" fmla="*/ 162 w 729"/>
                <a:gd name="T7" fmla="*/ 322 h 381"/>
                <a:gd name="T8" fmla="*/ 186 w 729"/>
                <a:gd name="T9" fmla="*/ 273 h 381"/>
                <a:gd name="T10" fmla="*/ 211 w 729"/>
                <a:gd name="T11" fmla="*/ 226 h 381"/>
                <a:gd name="T12" fmla="*/ 245 w 729"/>
                <a:gd name="T13" fmla="*/ 201 h 381"/>
                <a:gd name="T14" fmla="*/ 273 w 729"/>
                <a:gd name="T15" fmla="*/ 160 h 381"/>
                <a:gd name="T16" fmla="*/ 301 w 729"/>
                <a:gd name="T17" fmla="*/ 121 h 381"/>
                <a:gd name="T18" fmla="*/ 335 w 729"/>
                <a:gd name="T19" fmla="*/ 95 h 381"/>
                <a:gd name="T20" fmla="*/ 379 w 729"/>
                <a:gd name="T21" fmla="*/ 90 h 381"/>
                <a:gd name="T22" fmla="*/ 438 w 729"/>
                <a:gd name="T23" fmla="*/ 90 h 381"/>
                <a:gd name="T24" fmla="*/ 482 w 729"/>
                <a:gd name="T25" fmla="*/ 108 h 381"/>
                <a:gd name="T26" fmla="*/ 523 w 729"/>
                <a:gd name="T27" fmla="*/ 123 h 381"/>
                <a:gd name="T28" fmla="*/ 569 w 729"/>
                <a:gd name="T29" fmla="*/ 149 h 381"/>
                <a:gd name="T30" fmla="*/ 613 w 729"/>
                <a:gd name="T31" fmla="*/ 172 h 381"/>
                <a:gd name="T32" fmla="*/ 649 w 729"/>
                <a:gd name="T33" fmla="*/ 201 h 381"/>
                <a:gd name="T34" fmla="*/ 685 w 729"/>
                <a:gd name="T35" fmla="*/ 203 h 381"/>
                <a:gd name="T36" fmla="*/ 729 w 729"/>
                <a:gd name="T37" fmla="*/ 219 h 381"/>
                <a:gd name="T38" fmla="*/ 711 w 729"/>
                <a:gd name="T39" fmla="*/ 203 h 381"/>
                <a:gd name="T40" fmla="*/ 680 w 729"/>
                <a:gd name="T41" fmla="*/ 167 h 381"/>
                <a:gd name="T42" fmla="*/ 659 w 729"/>
                <a:gd name="T43" fmla="*/ 142 h 381"/>
                <a:gd name="T44" fmla="*/ 634 w 729"/>
                <a:gd name="T45" fmla="*/ 111 h 381"/>
                <a:gd name="T46" fmla="*/ 608 w 729"/>
                <a:gd name="T47" fmla="*/ 85 h 381"/>
                <a:gd name="T48" fmla="*/ 559 w 729"/>
                <a:gd name="T49" fmla="*/ 80 h 381"/>
                <a:gd name="T50" fmla="*/ 564 w 729"/>
                <a:gd name="T51" fmla="*/ 41 h 381"/>
                <a:gd name="T52" fmla="*/ 533 w 729"/>
                <a:gd name="T53" fmla="*/ 21 h 381"/>
                <a:gd name="T54" fmla="*/ 487 w 729"/>
                <a:gd name="T55" fmla="*/ 23 h 381"/>
                <a:gd name="T56" fmla="*/ 487 w 729"/>
                <a:gd name="T57" fmla="*/ 23 h 381"/>
                <a:gd name="T58" fmla="*/ 451 w 729"/>
                <a:gd name="T59" fmla="*/ 21 h 381"/>
                <a:gd name="T60" fmla="*/ 420 w 729"/>
                <a:gd name="T61" fmla="*/ 0 h 381"/>
                <a:gd name="T62" fmla="*/ 384 w 729"/>
                <a:gd name="T63" fmla="*/ 26 h 381"/>
                <a:gd name="T64" fmla="*/ 348 w 729"/>
                <a:gd name="T65" fmla="*/ 44 h 381"/>
                <a:gd name="T66" fmla="*/ 319 w 729"/>
                <a:gd name="T67" fmla="*/ 39 h 381"/>
                <a:gd name="T68" fmla="*/ 286 w 729"/>
                <a:gd name="T69" fmla="*/ 64 h 381"/>
                <a:gd name="T70" fmla="*/ 245 w 729"/>
                <a:gd name="T71" fmla="*/ 75 h 381"/>
                <a:gd name="T72" fmla="*/ 222 w 729"/>
                <a:gd name="T73" fmla="*/ 75 h 381"/>
                <a:gd name="T74" fmla="*/ 193 w 729"/>
                <a:gd name="T75" fmla="*/ 87 h 381"/>
                <a:gd name="T76" fmla="*/ 175 w 729"/>
                <a:gd name="T77" fmla="*/ 123 h 381"/>
                <a:gd name="T78" fmla="*/ 144 w 729"/>
                <a:gd name="T79" fmla="*/ 157 h 381"/>
                <a:gd name="T80" fmla="*/ 157 w 729"/>
                <a:gd name="T81" fmla="*/ 188 h 381"/>
                <a:gd name="T82" fmla="*/ 142 w 729"/>
                <a:gd name="T83" fmla="*/ 232 h 381"/>
                <a:gd name="T84" fmla="*/ 106 w 729"/>
                <a:gd name="T85" fmla="*/ 247 h 381"/>
                <a:gd name="T86" fmla="*/ 54 w 729"/>
                <a:gd name="T87" fmla="*/ 237 h 381"/>
                <a:gd name="T88" fmla="*/ 41 w 729"/>
                <a:gd name="T89" fmla="*/ 247 h 381"/>
                <a:gd name="T90" fmla="*/ 47 w 729"/>
                <a:gd name="T91" fmla="*/ 296 h 381"/>
                <a:gd name="T92" fmla="*/ 10 w 729"/>
                <a:gd name="T93" fmla="*/ 319 h 381"/>
                <a:gd name="T94" fmla="*/ 5 w 729"/>
                <a:gd name="T95" fmla="*/ 360 h 381"/>
                <a:gd name="T96" fmla="*/ 3 w 729"/>
                <a:gd name="T97" fmla="*/ 378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9" h="381">
                  <a:moveTo>
                    <a:pt x="16" y="381"/>
                  </a:moveTo>
                  <a:lnTo>
                    <a:pt x="36" y="373"/>
                  </a:lnTo>
                  <a:lnTo>
                    <a:pt x="54" y="363"/>
                  </a:lnTo>
                  <a:lnTo>
                    <a:pt x="77" y="363"/>
                  </a:lnTo>
                  <a:lnTo>
                    <a:pt x="95" y="353"/>
                  </a:lnTo>
                  <a:lnTo>
                    <a:pt x="124" y="340"/>
                  </a:lnTo>
                  <a:lnTo>
                    <a:pt x="142" y="332"/>
                  </a:lnTo>
                  <a:lnTo>
                    <a:pt x="162" y="322"/>
                  </a:lnTo>
                  <a:lnTo>
                    <a:pt x="178" y="306"/>
                  </a:lnTo>
                  <a:lnTo>
                    <a:pt x="186" y="273"/>
                  </a:lnTo>
                  <a:lnTo>
                    <a:pt x="198" y="250"/>
                  </a:lnTo>
                  <a:lnTo>
                    <a:pt x="211" y="226"/>
                  </a:lnTo>
                  <a:lnTo>
                    <a:pt x="224" y="208"/>
                  </a:lnTo>
                  <a:lnTo>
                    <a:pt x="245" y="201"/>
                  </a:lnTo>
                  <a:lnTo>
                    <a:pt x="260" y="185"/>
                  </a:lnTo>
                  <a:lnTo>
                    <a:pt x="273" y="160"/>
                  </a:lnTo>
                  <a:lnTo>
                    <a:pt x="283" y="134"/>
                  </a:lnTo>
                  <a:lnTo>
                    <a:pt x="301" y="121"/>
                  </a:lnTo>
                  <a:lnTo>
                    <a:pt x="317" y="103"/>
                  </a:lnTo>
                  <a:lnTo>
                    <a:pt x="335" y="95"/>
                  </a:lnTo>
                  <a:lnTo>
                    <a:pt x="355" y="85"/>
                  </a:lnTo>
                  <a:lnTo>
                    <a:pt x="379" y="90"/>
                  </a:lnTo>
                  <a:lnTo>
                    <a:pt x="415" y="93"/>
                  </a:lnTo>
                  <a:lnTo>
                    <a:pt x="438" y="90"/>
                  </a:lnTo>
                  <a:lnTo>
                    <a:pt x="453" y="103"/>
                  </a:lnTo>
                  <a:lnTo>
                    <a:pt x="482" y="108"/>
                  </a:lnTo>
                  <a:lnTo>
                    <a:pt x="507" y="116"/>
                  </a:lnTo>
                  <a:lnTo>
                    <a:pt x="523" y="123"/>
                  </a:lnTo>
                  <a:lnTo>
                    <a:pt x="538" y="134"/>
                  </a:lnTo>
                  <a:lnTo>
                    <a:pt x="569" y="149"/>
                  </a:lnTo>
                  <a:lnTo>
                    <a:pt x="585" y="160"/>
                  </a:lnTo>
                  <a:lnTo>
                    <a:pt x="613" y="172"/>
                  </a:lnTo>
                  <a:lnTo>
                    <a:pt x="634" y="190"/>
                  </a:lnTo>
                  <a:lnTo>
                    <a:pt x="649" y="201"/>
                  </a:lnTo>
                  <a:lnTo>
                    <a:pt x="664" y="203"/>
                  </a:lnTo>
                  <a:lnTo>
                    <a:pt x="685" y="203"/>
                  </a:lnTo>
                  <a:lnTo>
                    <a:pt x="703" y="214"/>
                  </a:lnTo>
                  <a:lnTo>
                    <a:pt x="729" y="219"/>
                  </a:lnTo>
                  <a:lnTo>
                    <a:pt x="724" y="206"/>
                  </a:lnTo>
                  <a:lnTo>
                    <a:pt x="711" y="203"/>
                  </a:lnTo>
                  <a:lnTo>
                    <a:pt x="701" y="185"/>
                  </a:lnTo>
                  <a:lnTo>
                    <a:pt x="680" y="167"/>
                  </a:lnTo>
                  <a:lnTo>
                    <a:pt x="664" y="157"/>
                  </a:lnTo>
                  <a:lnTo>
                    <a:pt x="659" y="142"/>
                  </a:lnTo>
                  <a:lnTo>
                    <a:pt x="641" y="131"/>
                  </a:lnTo>
                  <a:lnTo>
                    <a:pt x="634" y="111"/>
                  </a:lnTo>
                  <a:lnTo>
                    <a:pt x="613" y="100"/>
                  </a:lnTo>
                  <a:lnTo>
                    <a:pt x="608" y="85"/>
                  </a:lnTo>
                  <a:lnTo>
                    <a:pt x="582" y="80"/>
                  </a:lnTo>
                  <a:lnTo>
                    <a:pt x="559" y="80"/>
                  </a:lnTo>
                  <a:lnTo>
                    <a:pt x="554" y="64"/>
                  </a:lnTo>
                  <a:lnTo>
                    <a:pt x="564" y="41"/>
                  </a:lnTo>
                  <a:lnTo>
                    <a:pt x="549" y="31"/>
                  </a:lnTo>
                  <a:lnTo>
                    <a:pt x="533" y="21"/>
                  </a:lnTo>
                  <a:lnTo>
                    <a:pt x="510" y="21"/>
                  </a:lnTo>
                  <a:lnTo>
                    <a:pt x="487" y="23"/>
                  </a:lnTo>
                  <a:lnTo>
                    <a:pt x="487" y="23"/>
                  </a:lnTo>
                  <a:lnTo>
                    <a:pt x="487" y="23"/>
                  </a:lnTo>
                  <a:lnTo>
                    <a:pt x="458" y="39"/>
                  </a:lnTo>
                  <a:lnTo>
                    <a:pt x="451" y="21"/>
                  </a:lnTo>
                  <a:lnTo>
                    <a:pt x="435" y="13"/>
                  </a:lnTo>
                  <a:lnTo>
                    <a:pt x="420" y="0"/>
                  </a:lnTo>
                  <a:lnTo>
                    <a:pt x="399" y="10"/>
                  </a:lnTo>
                  <a:lnTo>
                    <a:pt x="384" y="26"/>
                  </a:lnTo>
                  <a:lnTo>
                    <a:pt x="366" y="33"/>
                  </a:lnTo>
                  <a:lnTo>
                    <a:pt x="348" y="44"/>
                  </a:lnTo>
                  <a:lnTo>
                    <a:pt x="327" y="54"/>
                  </a:lnTo>
                  <a:lnTo>
                    <a:pt x="319" y="39"/>
                  </a:lnTo>
                  <a:lnTo>
                    <a:pt x="301" y="46"/>
                  </a:lnTo>
                  <a:lnTo>
                    <a:pt x="286" y="64"/>
                  </a:lnTo>
                  <a:lnTo>
                    <a:pt x="265" y="72"/>
                  </a:lnTo>
                  <a:lnTo>
                    <a:pt x="245" y="75"/>
                  </a:lnTo>
                  <a:lnTo>
                    <a:pt x="229" y="90"/>
                  </a:lnTo>
                  <a:lnTo>
                    <a:pt x="222" y="75"/>
                  </a:lnTo>
                  <a:lnTo>
                    <a:pt x="196" y="69"/>
                  </a:lnTo>
                  <a:lnTo>
                    <a:pt x="193" y="87"/>
                  </a:lnTo>
                  <a:lnTo>
                    <a:pt x="188" y="100"/>
                  </a:lnTo>
                  <a:lnTo>
                    <a:pt x="175" y="123"/>
                  </a:lnTo>
                  <a:lnTo>
                    <a:pt x="157" y="131"/>
                  </a:lnTo>
                  <a:lnTo>
                    <a:pt x="144" y="157"/>
                  </a:lnTo>
                  <a:lnTo>
                    <a:pt x="152" y="172"/>
                  </a:lnTo>
                  <a:lnTo>
                    <a:pt x="157" y="188"/>
                  </a:lnTo>
                  <a:lnTo>
                    <a:pt x="155" y="206"/>
                  </a:lnTo>
                  <a:lnTo>
                    <a:pt x="142" y="232"/>
                  </a:lnTo>
                  <a:lnTo>
                    <a:pt x="124" y="239"/>
                  </a:lnTo>
                  <a:lnTo>
                    <a:pt x="106" y="247"/>
                  </a:lnTo>
                  <a:lnTo>
                    <a:pt x="80" y="242"/>
                  </a:lnTo>
                  <a:lnTo>
                    <a:pt x="54" y="237"/>
                  </a:lnTo>
                  <a:lnTo>
                    <a:pt x="44" y="244"/>
                  </a:lnTo>
                  <a:lnTo>
                    <a:pt x="41" y="247"/>
                  </a:lnTo>
                  <a:lnTo>
                    <a:pt x="59" y="270"/>
                  </a:lnTo>
                  <a:lnTo>
                    <a:pt x="47" y="296"/>
                  </a:lnTo>
                  <a:lnTo>
                    <a:pt x="26" y="306"/>
                  </a:lnTo>
                  <a:lnTo>
                    <a:pt x="10" y="319"/>
                  </a:lnTo>
                  <a:lnTo>
                    <a:pt x="8" y="340"/>
                  </a:lnTo>
                  <a:lnTo>
                    <a:pt x="5" y="360"/>
                  </a:lnTo>
                  <a:lnTo>
                    <a:pt x="0" y="371"/>
                  </a:lnTo>
                  <a:lnTo>
                    <a:pt x="3" y="378"/>
                  </a:lnTo>
                  <a:lnTo>
                    <a:pt x="16" y="38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C9EA8E9F-392B-576B-E346-F255F18FE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024" y="1751364"/>
              <a:ext cx="739442" cy="751194"/>
            </a:xfrm>
            <a:custGeom>
              <a:avLst/>
              <a:gdLst>
                <a:gd name="T0" fmla="*/ 77 w 818"/>
                <a:gd name="T1" fmla="*/ 141 h 831"/>
                <a:gd name="T2" fmla="*/ 30 w 818"/>
                <a:gd name="T3" fmla="*/ 90 h 831"/>
                <a:gd name="T4" fmla="*/ 0 w 818"/>
                <a:gd name="T5" fmla="*/ 49 h 831"/>
                <a:gd name="T6" fmla="*/ 69 w 818"/>
                <a:gd name="T7" fmla="*/ 0 h 831"/>
                <a:gd name="T8" fmla="*/ 121 w 818"/>
                <a:gd name="T9" fmla="*/ 31 h 831"/>
                <a:gd name="T10" fmla="*/ 177 w 818"/>
                <a:gd name="T11" fmla="*/ 56 h 831"/>
                <a:gd name="T12" fmla="*/ 236 w 818"/>
                <a:gd name="T13" fmla="*/ 85 h 831"/>
                <a:gd name="T14" fmla="*/ 285 w 818"/>
                <a:gd name="T15" fmla="*/ 116 h 831"/>
                <a:gd name="T16" fmla="*/ 365 w 818"/>
                <a:gd name="T17" fmla="*/ 113 h 831"/>
                <a:gd name="T18" fmla="*/ 432 w 818"/>
                <a:gd name="T19" fmla="*/ 108 h 831"/>
                <a:gd name="T20" fmla="*/ 497 w 818"/>
                <a:gd name="T21" fmla="*/ 69 h 831"/>
                <a:gd name="T22" fmla="*/ 543 w 818"/>
                <a:gd name="T23" fmla="*/ 75 h 831"/>
                <a:gd name="T24" fmla="*/ 602 w 818"/>
                <a:gd name="T25" fmla="*/ 75 h 831"/>
                <a:gd name="T26" fmla="*/ 623 w 818"/>
                <a:gd name="T27" fmla="*/ 121 h 831"/>
                <a:gd name="T28" fmla="*/ 633 w 818"/>
                <a:gd name="T29" fmla="*/ 170 h 831"/>
                <a:gd name="T30" fmla="*/ 677 w 818"/>
                <a:gd name="T31" fmla="*/ 214 h 831"/>
                <a:gd name="T32" fmla="*/ 731 w 818"/>
                <a:gd name="T33" fmla="*/ 219 h 831"/>
                <a:gd name="T34" fmla="*/ 767 w 818"/>
                <a:gd name="T35" fmla="*/ 208 h 831"/>
                <a:gd name="T36" fmla="*/ 803 w 818"/>
                <a:gd name="T37" fmla="*/ 224 h 831"/>
                <a:gd name="T38" fmla="*/ 800 w 818"/>
                <a:gd name="T39" fmla="*/ 229 h 831"/>
                <a:gd name="T40" fmla="*/ 775 w 818"/>
                <a:gd name="T41" fmla="*/ 250 h 831"/>
                <a:gd name="T42" fmla="*/ 798 w 818"/>
                <a:gd name="T43" fmla="*/ 275 h 831"/>
                <a:gd name="T44" fmla="*/ 787 w 818"/>
                <a:gd name="T45" fmla="*/ 299 h 831"/>
                <a:gd name="T46" fmla="*/ 772 w 818"/>
                <a:gd name="T47" fmla="*/ 353 h 831"/>
                <a:gd name="T48" fmla="*/ 800 w 818"/>
                <a:gd name="T49" fmla="*/ 391 h 831"/>
                <a:gd name="T50" fmla="*/ 808 w 818"/>
                <a:gd name="T51" fmla="*/ 407 h 831"/>
                <a:gd name="T52" fmla="*/ 739 w 818"/>
                <a:gd name="T53" fmla="*/ 476 h 831"/>
                <a:gd name="T54" fmla="*/ 736 w 818"/>
                <a:gd name="T55" fmla="*/ 541 h 831"/>
                <a:gd name="T56" fmla="*/ 723 w 818"/>
                <a:gd name="T57" fmla="*/ 610 h 831"/>
                <a:gd name="T58" fmla="*/ 713 w 818"/>
                <a:gd name="T59" fmla="*/ 641 h 831"/>
                <a:gd name="T60" fmla="*/ 687 w 818"/>
                <a:gd name="T61" fmla="*/ 710 h 831"/>
                <a:gd name="T62" fmla="*/ 661 w 818"/>
                <a:gd name="T63" fmla="*/ 757 h 831"/>
                <a:gd name="T64" fmla="*/ 620 w 818"/>
                <a:gd name="T65" fmla="*/ 793 h 831"/>
                <a:gd name="T66" fmla="*/ 594 w 818"/>
                <a:gd name="T67" fmla="*/ 808 h 831"/>
                <a:gd name="T68" fmla="*/ 533 w 818"/>
                <a:gd name="T69" fmla="*/ 826 h 831"/>
                <a:gd name="T70" fmla="*/ 509 w 818"/>
                <a:gd name="T71" fmla="*/ 803 h 831"/>
                <a:gd name="T72" fmla="*/ 522 w 818"/>
                <a:gd name="T73" fmla="*/ 759 h 831"/>
                <a:gd name="T74" fmla="*/ 473 w 818"/>
                <a:gd name="T75" fmla="*/ 728 h 831"/>
                <a:gd name="T76" fmla="*/ 445 w 818"/>
                <a:gd name="T77" fmla="*/ 687 h 831"/>
                <a:gd name="T78" fmla="*/ 373 w 818"/>
                <a:gd name="T79" fmla="*/ 656 h 831"/>
                <a:gd name="T80" fmla="*/ 373 w 818"/>
                <a:gd name="T81" fmla="*/ 610 h 831"/>
                <a:gd name="T82" fmla="*/ 296 w 818"/>
                <a:gd name="T83" fmla="*/ 613 h 831"/>
                <a:gd name="T84" fmla="*/ 303 w 818"/>
                <a:gd name="T85" fmla="*/ 553 h 831"/>
                <a:gd name="T86" fmla="*/ 301 w 818"/>
                <a:gd name="T87" fmla="*/ 499 h 831"/>
                <a:gd name="T88" fmla="*/ 272 w 818"/>
                <a:gd name="T89" fmla="*/ 440 h 831"/>
                <a:gd name="T90" fmla="*/ 229 w 818"/>
                <a:gd name="T91" fmla="*/ 396 h 831"/>
                <a:gd name="T92" fmla="*/ 216 w 818"/>
                <a:gd name="T93" fmla="*/ 340 h 831"/>
                <a:gd name="T94" fmla="*/ 206 w 818"/>
                <a:gd name="T95" fmla="*/ 270 h 831"/>
                <a:gd name="T96" fmla="*/ 180 w 818"/>
                <a:gd name="T97" fmla="*/ 211 h 831"/>
                <a:gd name="T98" fmla="*/ 121 w 818"/>
                <a:gd name="T99" fmla="*/ 157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18" h="831">
                  <a:moveTo>
                    <a:pt x="95" y="152"/>
                  </a:moveTo>
                  <a:lnTo>
                    <a:pt x="90" y="139"/>
                  </a:lnTo>
                  <a:lnTo>
                    <a:pt x="77" y="141"/>
                  </a:lnTo>
                  <a:lnTo>
                    <a:pt x="67" y="118"/>
                  </a:lnTo>
                  <a:lnTo>
                    <a:pt x="46" y="100"/>
                  </a:lnTo>
                  <a:lnTo>
                    <a:pt x="30" y="90"/>
                  </a:lnTo>
                  <a:lnTo>
                    <a:pt x="25" y="75"/>
                  </a:lnTo>
                  <a:lnTo>
                    <a:pt x="7" y="64"/>
                  </a:lnTo>
                  <a:lnTo>
                    <a:pt x="0" y="49"/>
                  </a:lnTo>
                  <a:lnTo>
                    <a:pt x="28" y="8"/>
                  </a:lnTo>
                  <a:lnTo>
                    <a:pt x="46" y="0"/>
                  </a:lnTo>
                  <a:lnTo>
                    <a:pt x="69" y="0"/>
                  </a:lnTo>
                  <a:lnTo>
                    <a:pt x="95" y="5"/>
                  </a:lnTo>
                  <a:lnTo>
                    <a:pt x="103" y="20"/>
                  </a:lnTo>
                  <a:lnTo>
                    <a:pt x="121" y="31"/>
                  </a:lnTo>
                  <a:lnTo>
                    <a:pt x="144" y="36"/>
                  </a:lnTo>
                  <a:lnTo>
                    <a:pt x="162" y="49"/>
                  </a:lnTo>
                  <a:lnTo>
                    <a:pt x="177" y="56"/>
                  </a:lnTo>
                  <a:lnTo>
                    <a:pt x="200" y="56"/>
                  </a:lnTo>
                  <a:lnTo>
                    <a:pt x="221" y="75"/>
                  </a:lnTo>
                  <a:lnTo>
                    <a:pt x="236" y="85"/>
                  </a:lnTo>
                  <a:lnTo>
                    <a:pt x="252" y="95"/>
                  </a:lnTo>
                  <a:lnTo>
                    <a:pt x="270" y="105"/>
                  </a:lnTo>
                  <a:lnTo>
                    <a:pt x="285" y="116"/>
                  </a:lnTo>
                  <a:lnTo>
                    <a:pt x="309" y="113"/>
                  </a:lnTo>
                  <a:lnTo>
                    <a:pt x="342" y="116"/>
                  </a:lnTo>
                  <a:lnTo>
                    <a:pt x="365" y="113"/>
                  </a:lnTo>
                  <a:lnTo>
                    <a:pt x="388" y="113"/>
                  </a:lnTo>
                  <a:lnTo>
                    <a:pt x="412" y="111"/>
                  </a:lnTo>
                  <a:lnTo>
                    <a:pt x="432" y="108"/>
                  </a:lnTo>
                  <a:lnTo>
                    <a:pt x="463" y="98"/>
                  </a:lnTo>
                  <a:lnTo>
                    <a:pt x="481" y="87"/>
                  </a:lnTo>
                  <a:lnTo>
                    <a:pt x="497" y="69"/>
                  </a:lnTo>
                  <a:lnTo>
                    <a:pt x="515" y="62"/>
                  </a:lnTo>
                  <a:lnTo>
                    <a:pt x="538" y="62"/>
                  </a:lnTo>
                  <a:lnTo>
                    <a:pt x="543" y="75"/>
                  </a:lnTo>
                  <a:lnTo>
                    <a:pt x="561" y="87"/>
                  </a:lnTo>
                  <a:lnTo>
                    <a:pt x="579" y="77"/>
                  </a:lnTo>
                  <a:lnTo>
                    <a:pt x="602" y="75"/>
                  </a:lnTo>
                  <a:lnTo>
                    <a:pt x="610" y="90"/>
                  </a:lnTo>
                  <a:lnTo>
                    <a:pt x="625" y="100"/>
                  </a:lnTo>
                  <a:lnTo>
                    <a:pt x="623" y="121"/>
                  </a:lnTo>
                  <a:lnTo>
                    <a:pt x="610" y="147"/>
                  </a:lnTo>
                  <a:lnTo>
                    <a:pt x="628" y="154"/>
                  </a:lnTo>
                  <a:lnTo>
                    <a:pt x="633" y="170"/>
                  </a:lnTo>
                  <a:lnTo>
                    <a:pt x="633" y="190"/>
                  </a:lnTo>
                  <a:lnTo>
                    <a:pt x="661" y="203"/>
                  </a:lnTo>
                  <a:lnTo>
                    <a:pt x="677" y="214"/>
                  </a:lnTo>
                  <a:lnTo>
                    <a:pt x="687" y="214"/>
                  </a:lnTo>
                  <a:lnTo>
                    <a:pt x="710" y="219"/>
                  </a:lnTo>
                  <a:lnTo>
                    <a:pt x="731" y="219"/>
                  </a:lnTo>
                  <a:lnTo>
                    <a:pt x="749" y="216"/>
                  </a:lnTo>
                  <a:lnTo>
                    <a:pt x="767" y="208"/>
                  </a:lnTo>
                  <a:lnTo>
                    <a:pt x="767" y="208"/>
                  </a:lnTo>
                  <a:lnTo>
                    <a:pt x="790" y="208"/>
                  </a:lnTo>
                  <a:lnTo>
                    <a:pt x="798" y="211"/>
                  </a:lnTo>
                  <a:lnTo>
                    <a:pt x="803" y="224"/>
                  </a:lnTo>
                  <a:lnTo>
                    <a:pt x="803" y="224"/>
                  </a:lnTo>
                  <a:lnTo>
                    <a:pt x="803" y="229"/>
                  </a:lnTo>
                  <a:lnTo>
                    <a:pt x="800" y="229"/>
                  </a:lnTo>
                  <a:lnTo>
                    <a:pt x="785" y="224"/>
                  </a:lnTo>
                  <a:lnTo>
                    <a:pt x="777" y="229"/>
                  </a:lnTo>
                  <a:lnTo>
                    <a:pt x="775" y="250"/>
                  </a:lnTo>
                  <a:lnTo>
                    <a:pt x="785" y="260"/>
                  </a:lnTo>
                  <a:lnTo>
                    <a:pt x="800" y="270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87" y="299"/>
                  </a:lnTo>
                  <a:lnTo>
                    <a:pt x="769" y="317"/>
                  </a:lnTo>
                  <a:lnTo>
                    <a:pt x="767" y="335"/>
                  </a:lnTo>
                  <a:lnTo>
                    <a:pt x="772" y="353"/>
                  </a:lnTo>
                  <a:lnTo>
                    <a:pt x="775" y="371"/>
                  </a:lnTo>
                  <a:lnTo>
                    <a:pt x="777" y="383"/>
                  </a:lnTo>
                  <a:lnTo>
                    <a:pt x="800" y="391"/>
                  </a:lnTo>
                  <a:lnTo>
                    <a:pt x="816" y="389"/>
                  </a:lnTo>
                  <a:lnTo>
                    <a:pt x="818" y="396"/>
                  </a:lnTo>
                  <a:lnTo>
                    <a:pt x="808" y="407"/>
                  </a:lnTo>
                  <a:lnTo>
                    <a:pt x="772" y="440"/>
                  </a:lnTo>
                  <a:lnTo>
                    <a:pt x="751" y="456"/>
                  </a:lnTo>
                  <a:lnTo>
                    <a:pt x="739" y="476"/>
                  </a:lnTo>
                  <a:lnTo>
                    <a:pt x="736" y="494"/>
                  </a:lnTo>
                  <a:lnTo>
                    <a:pt x="733" y="512"/>
                  </a:lnTo>
                  <a:lnTo>
                    <a:pt x="736" y="541"/>
                  </a:lnTo>
                  <a:lnTo>
                    <a:pt x="736" y="569"/>
                  </a:lnTo>
                  <a:lnTo>
                    <a:pt x="733" y="587"/>
                  </a:lnTo>
                  <a:lnTo>
                    <a:pt x="723" y="610"/>
                  </a:lnTo>
                  <a:lnTo>
                    <a:pt x="723" y="610"/>
                  </a:lnTo>
                  <a:lnTo>
                    <a:pt x="715" y="623"/>
                  </a:lnTo>
                  <a:lnTo>
                    <a:pt x="713" y="641"/>
                  </a:lnTo>
                  <a:lnTo>
                    <a:pt x="710" y="662"/>
                  </a:lnTo>
                  <a:lnTo>
                    <a:pt x="697" y="687"/>
                  </a:lnTo>
                  <a:lnTo>
                    <a:pt x="687" y="710"/>
                  </a:lnTo>
                  <a:lnTo>
                    <a:pt x="672" y="726"/>
                  </a:lnTo>
                  <a:lnTo>
                    <a:pt x="656" y="741"/>
                  </a:lnTo>
                  <a:lnTo>
                    <a:pt x="661" y="757"/>
                  </a:lnTo>
                  <a:lnTo>
                    <a:pt x="661" y="777"/>
                  </a:lnTo>
                  <a:lnTo>
                    <a:pt x="643" y="793"/>
                  </a:lnTo>
                  <a:lnTo>
                    <a:pt x="620" y="793"/>
                  </a:lnTo>
                  <a:lnTo>
                    <a:pt x="607" y="811"/>
                  </a:lnTo>
                  <a:lnTo>
                    <a:pt x="607" y="811"/>
                  </a:lnTo>
                  <a:lnTo>
                    <a:pt x="594" y="808"/>
                  </a:lnTo>
                  <a:lnTo>
                    <a:pt x="566" y="803"/>
                  </a:lnTo>
                  <a:lnTo>
                    <a:pt x="545" y="803"/>
                  </a:lnTo>
                  <a:lnTo>
                    <a:pt x="533" y="826"/>
                  </a:lnTo>
                  <a:lnTo>
                    <a:pt x="509" y="831"/>
                  </a:lnTo>
                  <a:lnTo>
                    <a:pt x="494" y="819"/>
                  </a:lnTo>
                  <a:lnTo>
                    <a:pt x="509" y="803"/>
                  </a:lnTo>
                  <a:lnTo>
                    <a:pt x="530" y="793"/>
                  </a:lnTo>
                  <a:lnTo>
                    <a:pt x="530" y="775"/>
                  </a:lnTo>
                  <a:lnTo>
                    <a:pt x="522" y="759"/>
                  </a:lnTo>
                  <a:lnTo>
                    <a:pt x="517" y="744"/>
                  </a:lnTo>
                  <a:lnTo>
                    <a:pt x="494" y="746"/>
                  </a:lnTo>
                  <a:lnTo>
                    <a:pt x="473" y="728"/>
                  </a:lnTo>
                  <a:lnTo>
                    <a:pt x="458" y="718"/>
                  </a:lnTo>
                  <a:lnTo>
                    <a:pt x="450" y="703"/>
                  </a:lnTo>
                  <a:lnTo>
                    <a:pt x="445" y="687"/>
                  </a:lnTo>
                  <a:lnTo>
                    <a:pt x="414" y="674"/>
                  </a:lnTo>
                  <a:lnTo>
                    <a:pt x="391" y="667"/>
                  </a:lnTo>
                  <a:lnTo>
                    <a:pt x="373" y="656"/>
                  </a:lnTo>
                  <a:lnTo>
                    <a:pt x="388" y="641"/>
                  </a:lnTo>
                  <a:lnTo>
                    <a:pt x="383" y="625"/>
                  </a:lnTo>
                  <a:lnTo>
                    <a:pt x="373" y="610"/>
                  </a:lnTo>
                  <a:lnTo>
                    <a:pt x="345" y="597"/>
                  </a:lnTo>
                  <a:lnTo>
                    <a:pt x="324" y="597"/>
                  </a:lnTo>
                  <a:lnTo>
                    <a:pt x="296" y="613"/>
                  </a:lnTo>
                  <a:lnTo>
                    <a:pt x="288" y="597"/>
                  </a:lnTo>
                  <a:lnTo>
                    <a:pt x="291" y="577"/>
                  </a:lnTo>
                  <a:lnTo>
                    <a:pt x="303" y="553"/>
                  </a:lnTo>
                  <a:lnTo>
                    <a:pt x="306" y="533"/>
                  </a:lnTo>
                  <a:lnTo>
                    <a:pt x="309" y="515"/>
                  </a:lnTo>
                  <a:lnTo>
                    <a:pt x="301" y="499"/>
                  </a:lnTo>
                  <a:lnTo>
                    <a:pt x="291" y="476"/>
                  </a:lnTo>
                  <a:lnTo>
                    <a:pt x="280" y="456"/>
                  </a:lnTo>
                  <a:lnTo>
                    <a:pt x="272" y="440"/>
                  </a:lnTo>
                  <a:lnTo>
                    <a:pt x="257" y="430"/>
                  </a:lnTo>
                  <a:lnTo>
                    <a:pt x="236" y="412"/>
                  </a:lnTo>
                  <a:lnTo>
                    <a:pt x="229" y="396"/>
                  </a:lnTo>
                  <a:lnTo>
                    <a:pt x="221" y="376"/>
                  </a:lnTo>
                  <a:lnTo>
                    <a:pt x="213" y="360"/>
                  </a:lnTo>
                  <a:lnTo>
                    <a:pt x="216" y="340"/>
                  </a:lnTo>
                  <a:lnTo>
                    <a:pt x="218" y="322"/>
                  </a:lnTo>
                  <a:lnTo>
                    <a:pt x="208" y="299"/>
                  </a:lnTo>
                  <a:lnTo>
                    <a:pt x="206" y="270"/>
                  </a:lnTo>
                  <a:lnTo>
                    <a:pt x="195" y="250"/>
                  </a:lnTo>
                  <a:lnTo>
                    <a:pt x="188" y="229"/>
                  </a:lnTo>
                  <a:lnTo>
                    <a:pt x="180" y="211"/>
                  </a:lnTo>
                  <a:lnTo>
                    <a:pt x="159" y="193"/>
                  </a:lnTo>
                  <a:lnTo>
                    <a:pt x="136" y="167"/>
                  </a:lnTo>
                  <a:lnTo>
                    <a:pt x="121" y="157"/>
                  </a:lnTo>
                  <a:lnTo>
                    <a:pt x="97" y="152"/>
                  </a:lnTo>
                  <a:lnTo>
                    <a:pt x="95" y="152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AB9D0E2F-4CCD-4229-0BBA-6C9334ACE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218" y="1837240"/>
              <a:ext cx="39774" cy="47006"/>
            </a:xfrm>
            <a:custGeom>
              <a:avLst/>
              <a:gdLst>
                <a:gd name="T0" fmla="*/ 3 w 44"/>
                <a:gd name="T1" fmla="*/ 16 h 52"/>
                <a:gd name="T2" fmla="*/ 8 w 44"/>
                <a:gd name="T3" fmla="*/ 10 h 52"/>
                <a:gd name="T4" fmla="*/ 23 w 44"/>
                <a:gd name="T5" fmla="*/ 3 h 52"/>
                <a:gd name="T6" fmla="*/ 39 w 44"/>
                <a:gd name="T7" fmla="*/ 0 h 52"/>
                <a:gd name="T8" fmla="*/ 44 w 44"/>
                <a:gd name="T9" fmla="*/ 13 h 52"/>
                <a:gd name="T10" fmla="*/ 44 w 44"/>
                <a:gd name="T11" fmla="*/ 31 h 52"/>
                <a:gd name="T12" fmla="*/ 39 w 44"/>
                <a:gd name="T13" fmla="*/ 46 h 52"/>
                <a:gd name="T14" fmla="*/ 39 w 44"/>
                <a:gd name="T15" fmla="*/ 46 h 52"/>
                <a:gd name="T16" fmla="*/ 31 w 44"/>
                <a:gd name="T17" fmla="*/ 52 h 52"/>
                <a:gd name="T18" fmla="*/ 13 w 44"/>
                <a:gd name="T19" fmla="*/ 49 h 52"/>
                <a:gd name="T20" fmla="*/ 5 w 44"/>
                <a:gd name="T21" fmla="*/ 36 h 52"/>
                <a:gd name="T22" fmla="*/ 0 w 44"/>
                <a:gd name="T23" fmla="*/ 16 h 52"/>
                <a:gd name="T24" fmla="*/ 3 w 44"/>
                <a:gd name="T25" fmla="*/ 1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3" y="16"/>
                  </a:moveTo>
                  <a:lnTo>
                    <a:pt x="8" y="10"/>
                  </a:lnTo>
                  <a:lnTo>
                    <a:pt x="23" y="3"/>
                  </a:lnTo>
                  <a:lnTo>
                    <a:pt x="39" y="0"/>
                  </a:lnTo>
                  <a:lnTo>
                    <a:pt x="44" y="13"/>
                  </a:lnTo>
                  <a:lnTo>
                    <a:pt x="44" y="31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1" y="52"/>
                  </a:lnTo>
                  <a:lnTo>
                    <a:pt x="13" y="49"/>
                  </a:lnTo>
                  <a:lnTo>
                    <a:pt x="5" y="36"/>
                  </a:lnTo>
                  <a:lnTo>
                    <a:pt x="0" y="16"/>
                  </a:lnTo>
                  <a:lnTo>
                    <a:pt x="3" y="16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24">
              <a:extLst>
                <a:ext uri="{FF2B5EF4-FFF2-40B4-BE49-F238E27FC236}">
                  <a16:creationId xmlns:a16="http://schemas.microsoft.com/office/drawing/2014/main" id="{935334BA-C7D8-40AA-62D7-4F1DA4087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9429" y="1488311"/>
              <a:ext cx="984416" cy="461021"/>
            </a:xfrm>
            <a:custGeom>
              <a:avLst/>
              <a:gdLst>
                <a:gd name="T0" fmla="*/ 196 w 1089"/>
                <a:gd name="T1" fmla="*/ 291 h 510"/>
                <a:gd name="T2" fmla="*/ 253 w 1089"/>
                <a:gd name="T3" fmla="*/ 311 h 510"/>
                <a:gd name="T4" fmla="*/ 312 w 1089"/>
                <a:gd name="T5" fmla="*/ 340 h 510"/>
                <a:gd name="T6" fmla="*/ 371 w 1089"/>
                <a:gd name="T7" fmla="*/ 366 h 510"/>
                <a:gd name="T8" fmla="*/ 420 w 1089"/>
                <a:gd name="T9" fmla="*/ 396 h 510"/>
                <a:gd name="T10" fmla="*/ 492 w 1089"/>
                <a:gd name="T11" fmla="*/ 407 h 510"/>
                <a:gd name="T12" fmla="*/ 562 w 1089"/>
                <a:gd name="T13" fmla="*/ 402 h 510"/>
                <a:gd name="T14" fmla="*/ 631 w 1089"/>
                <a:gd name="T15" fmla="*/ 378 h 510"/>
                <a:gd name="T16" fmla="*/ 688 w 1089"/>
                <a:gd name="T17" fmla="*/ 353 h 510"/>
                <a:gd name="T18" fmla="*/ 729 w 1089"/>
                <a:gd name="T19" fmla="*/ 368 h 510"/>
                <a:gd name="T20" fmla="*/ 775 w 1089"/>
                <a:gd name="T21" fmla="*/ 391 h 510"/>
                <a:gd name="T22" fmla="*/ 778 w 1089"/>
                <a:gd name="T23" fmla="*/ 445 h 510"/>
                <a:gd name="T24" fmla="*/ 811 w 1089"/>
                <a:gd name="T25" fmla="*/ 494 h 510"/>
                <a:gd name="T26" fmla="*/ 860 w 1089"/>
                <a:gd name="T27" fmla="*/ 510 h 510"/>
                <a:gd name="T28" fmla="*/ 917 w 1089"/>
                <a:gd name="T29" fmla="*/ 499 h 510"/>
                <a:gd name="T30" fmla="*/ 914 w 1089"/>
                <a:gd name="T31" fmla="*/ 463 h 510"/>
                <a:gd name="T32" fmla="*/ 953 w 1089"/>
                <a:gd name="T33" fmla="*/ 425 h 510"/>
                <a:gd name="T34" fmla="*/ 979 w 1089"/>
                <a:gd name="T35" fmla="*/ 404 h 510"/>
                <a:gd name="T36" fmla="*/ 1020 w 1089"/>
                <a:gd name="T37" fmla="*/ 386 h 510"/>
                <a:gd name="T38" fmla="*/ 1020 w 1089"/>
                <a:gd name="T39" fmla="*/ 432 h 510"/>
                <a:gd name="T40" fmla="*/ 1038 w 1089"/>
                <a:gd name="T41" fmla="*/ 443 h 510"/>
                <a:gd name="T42" fmla="*/ 1079 w 1089"/>
                <a:gd name="T43" fmla="*/ 448 h 510"/>
                <a:gd name="T44" fmla="*/ 1087 w 1089"/>
                <a:gd name="T45" fmla="*/ 399 h 510"/>
                <a:gd name="T46" fmla="*/ 1046 w 1089"/>
                <a:gd name="T47" fmla="*/ 389 h 510"/>
                <a:gd name="T48" fmla="*/ 999 w 1089"/>
                <a:gd name="T49" fmla="*/ 350 h 510"/>
                <a:gd name="T50" fmla="*/ 953 w 1089"/>
                <a:gd name="T51" fmla="*/ 299 h 510"/>
                <a:gd name="T52" fmla="*/ 932 w 1089"/>
                <a:gd name="T53" fmla="*/ 226 h 510"/>
                <a:gd name="T54" fmla="*/ 919 w 1089"/>
                <a:gd name="T55" fmla="*/ 160 h 510"/>
                <a:gd name="T56" fmla="*/ 901 w 1089"/>
                <a:gd name="T57" fmla="*/ 113 h 510"/>
                <a:gd name="T58" fmla="*/ 909 w 1089"/>
                <a:gd name="T59" fmla="*/ 64 h 510"/>
                <a:gd name="T60" fmla="*/ 945 w 1089"/>
                <a:gd name="T61" fmla="*/ 28 h 510"/>
                <a:gd name="T62" fmla="*/ 899 w 1089"/>
                <a:gd name="T63" fmla="*/ 33 h 510"/>
                <a:gd name="T64" fmla="*/ 840 w 1089"/>
                <a:gd name="T65" fmla="*/ 8 h 510"/>
                <a:gd name="T66" fmla="*/ 770 w 1089"/>
                <a:gd name="T67" fmla="*/ 3 h 510"/>
                <a:gd name="T68" fmla="*/ 721 w 1089"/>
                <a:gd name="T69" fmla="*/ 44 h 510"/>
                <a:gd name="T70" fmla="*/ 644 w 1089"/>
                <a:gd name="T71" fmla="*/ 26 h 510"/>
                <a:gd name="T72" fmla="*/ 600 w 1089"/>
                <a:gd name="T73" fmla="*/ 36 h 510"/>
                <a:gd name="T74" fmla="*/ 546 w 1089"/>
                <a:gd name="T75" fmla="*/ 44 h 510"/>
                <a:gd name="T76" fmla="*/ 484 w 1089"/>
                <a:gd name="T77" fmla="*/ 64 h 510"/>
                <a:gd name="T78" fmla="*/ 441 w 1089"/>
                <a:gd name="T79" fmla="*/ 39 h 510"/>
                <a:gd name="T80" fmla="*/ 384 w 1089"/>
                <a:gd name="T81" fmla="*/ 67 h 510"/>
                <a:gd name="T82" fmla="*/ 332 w 1089"/>
                <a:gd name="T83" fmla="*/ 57 h 510"/>
                <a:gd name="T84" fmla="*/ 253 w 1089"/>
                <a:gd name="T85" fmla="*/ 36 h 510"/>
                <a:gd name="T86" fmla="*/ 191 w 1089"/>
                <a:gd name="T87" fmla="*/ 3 h 510"/>
                <a:gd name="T88" fmla="*/ 134 w 1089"/>
                <a:gd name="T89" fmla="*/ 28 h 510"/>
                <a:gd name="T90" fmla="*/ 83 w 1089"/>
                <a:gd name="T91" fmla="*/ 15 h 510"/>
                <a:gd name="T92" fmla="*/ 41 w 1089"/>
                <a:gd name="T93" fmla="*/ 54 h 510"/>
                <a:gd name="T94" fmla="*/ 41 w 1089"/>
                <a:gd name="T95" fmla="*/ 118 h 510"/>
                <a:gd name="T96" fmla="*/ 49 w 1089"/>
                <a:gd name="T97" fmla="*/ 170 h 510"/>
                <a:gd name="T98" fmla="*/ 21 w 1089"/>
                <a:gd name="T99" fmla="*/ 190 h 510"/>
                <a:gd name="T100" fmla="*/ 0 w 1089"/>
                <a:gd name="T101" fmla="*/ 245 h 510"/>
                <a:gd name="T102" fmla="*/ 26 w 1089"/>
                <a:gd name="T103" fmla="*/ 245 h 510"/>
                <a:gd name="T104" fmla="*/ 80 w 1089"/>
                <a:gd name="T105" fmla="*/ 265 h 510"/>
                <a:gd name="T106" fmla="*/ 98 w 1089"/>
                <a:gd name="T107" fmla="*/ 304 h 510"/>
                <a:gd name="T108" fmla="*/ 150 w 1089"/>
                <a:gd name="T109" fmla="*/ 335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89" h="510">
                  <a:moveTo>
                    <a:pt x="162" y="317"/>
                  </a:moveTo>
                  <a:lnTo>
                    <a:pt x="178" y="299"/>
                  </a:lnTo>
                  <a:lnTo>
                    <a:pt x="196" y="291"/>
                  </a:lnTo>
                  <a:lnTo>
                    <a:pt x="219" y="291"/>
                  </a:lnTo>
                  <a:lnTo>
                    <a:pt x="245" y="296"/>
                  </a:lnTo>
                  <a:lnTo>
                    <a:pt x="253" y="311"/>
                  </a:lnTo>
                  <a:lnTo>
                    <a:pt x="271" y="322"/>
                  </a:lnTo>
                  <a:lnTo>
                    <a:pt x="294" y="327"/>
                  </a:lnTo>
                  <a:lnTo>
                    <a:pt x="312" y="340"/>
                  </a:lnTo>
                  <a:lnTo>
                    <a:pt x="327" y="347"/>
                  </a:lnTo>
                  <a:lnTo>
                    <a:pt x="350" y="347"/>
                  </a:lnTo>
                  <a:lnTo>
                    <a:pt x="371" y="366"/>
                  </a:lnTo>
                  <a:lnTo>
                    <a:pt x="386" y="376"/>
                  </a:lnTo>
                  <a:lnTo>
                    <a:pt x="402" y="386"/>
                  </a:lnTo>
                  <a:lnTo>
                    <a:pt x="420" y="396"/>
                  </a:lnTo>
                  <a:lnTo>
                    <a:pt x="435" y="407"/>
                  </a:lnTo>
                  <a:lnTo>
                    <a:pt x="459" y="404"/>
                  </a:lnTo>
                  <a:lnTo>
                    <a:pt x="492" y="407"/>
                  </a:lnTo>
                  <a:lnTo>
                    <a:pt x="515" y="404"/>
                  </a:lnTo>
                  <a:lnTo>
                    <a:pt x="538" y="404"/>
                  </a:lnTo>
                  <a:lnTo>
                    <a:pt x="562" y="402"/>
                  </a:lnTo>
                  <a:lnTo>
                    <a:pt x="582" y="399"/>
                  </a:lnTo>
                  <a:lnTo>
                    <a:pt x="613" y="389"/>
                  </a:lnTo>
                  <a:lnTo>
                    <a:pt x="631" y="378"/>
                  </a:lnTo>
                  <a:lnTo>
                    <a:pt x="647" y="360"/>
                  </a:lnTo>
                  <a:lnTo>
                    <a:pt x="665" y="353"/>
                  </a:lnTo>
                  <a:lnTo>
                    <a:pt x="688" y="353"/>
                  </a:lnTo>
                  <a:lnTo>
                    <a:pt x="693" y="366"/>
                  </a:lnTo>
                  <a:lnTo>
                    <a:pt x="711" y="378"/>
                  </a:lnTo>
                  <a:lnTo>
                    <a:pt x="729" y="368"/>
                  </a:lnTo>
                  <a:lnTo>
                    <a:pt x="752" y="366"/>
                  </a:lnTo>
                  <a:lnTo>
                    <a:pt x="760" y="381"/>
                  </a:lnTo>
                  <a:lnTo>
                    <a:pt x="775" y="391"/>
                  </a:lnTo>
                  <a:lnTo>
                    <a:pt x="773" y="412"/>
                  </a:lnTo>
                  <a:lnTo>
                    <a:pt x="760" y="438"/>
                  </a:lnTo>
                  <a:lnTo>
                    <a:pt x="778" y="445"/>
                  </a:lnTo>
                  <a:lnTo>
                    <a:pt x="783" y="461"/>
                  </a:lnTo>
                  <a:lnTo>
                    <a:pt x="783" y="481"/>
                  </a:lnTo>
                  <a:lnTo>
                    <a:pt x="811" y="494"/>
                  </a:lnTo>
                  <a:lnTo>
                    <a:pt x="827" y="505"/>
                  </a:lnTo>
                  <a:lnTo>
                    <a:pt x="837" y="505"/>
                  </a:lnTo>
                  <a:lnTo>
                    <a:pt x="860" y="510"/>
                  </a:lnTo>
                  <a:lnTo>
                    <a:pt x="881" y="510"/>
                  </a:lnTo>
                  <a:lnTo>
                    <a:pt x="899" y="507"/>
                  </a:lnTo>
                  <a:lnTo>
                    <a:pt x="917" y="499"/>
                  </a:lnTo>
                  <a:lnTo>
                    <a:pt x="917" y="499"/>
                  </a:lnTo>
                  <a:lnTo>
                    <a:pt x="909" y="481"/>
                  </a:lnTo>
                  <a:lnTo>
                    <a:pt x="914" y="463"/>
                  </a:lnTo>
                  <a:lnTo>
                    <a:pt x="917" y="443"/>
                  </a:lnTo>
                  <a:lnTo>
                    <a:pt x="935" y="435"/>
                  </a:lnTo>
                  <a:lnTo>
                    <a:pt x="953" y="425"/>
                  </a:lnTo>
                  <a:lnTo>
                    <a:pt x="963" y="422"/>
                  </a:lnTo>
                  <a:lnTo>
                    <a:pt x="963" y="422"/>
                  </a:lnTo>
                  <a:lnTo>
                    <a:pt x="979" y="404"/>
                  </a:lnTo>
                  <a:lnTo>
                    <a:pt x="989" y="396"/>
                  </a:lnTo>
                  <a:lnTo>
                    <a:pt x="1004" y="389"/>
                  </a:lnTo>
                  <a:lnTo>
                    <a:pt x="1020" y="386"/>
                  </a:lnTo>
                  <a:lnTo>
                    <a:pt x="1025" y="399"/>
                  </a:lnTo>
                  <a:lnTo>
                    <a:pt x="1025" y="417"/>
                  </a:lnTo>
                  <a:lnTo>
                    <a:pt x="1020" y="432"/>
                  </a:lnTo>
                  <a:lnTo>
                    <a:pt x="1022" y="432"/>
                  </a:lnTo>
                  <a:lnTo>
                    <a:pt x="1030" y="443"/>
                  </a:lnTo>
                  <a:lnTo>
                    <a:pt x="1038" y="443"/>
                  </a:lnTo>
                  <a:lnTo>
                    <a:pt x="1046" y="453"/>
                  </a:lnTo>
                  <a:lnTo>
                    <a:pt x="1061" y="456"/>
                  </a:lnTo>
                  <a:lnTo>
                    <a:pt x="1079" y="448"/>
                  </a:lnTo>
                  <a:lnTo>
                    <a:pt x="1087" y="432"/>
                  </a:lnTo>
                  <a:lnTo>
                    <a:pt x="1089" y="414"/>
                  </a:lnTo>
                  <a:lnTo>
                    <a:pt x="1087" y="399"/>
                  </a:lnTo>
                  <a:lnTo>
                    <a:pt x="1087" y="399"/>
                  </a:lnTo>
                  <a:lnTo>
                    <a:pt x="1066" y="396"/>
                  </a:lnTo>
                  <a:lnTo>
                    <a:pt x="1046" y="389"/>
                  </a:lnTo>
                  <a:lnTo>
                    <a:pt x="1028" y="373"/>
                  </a:lnTo>
                  <a:lnTo>
                    <a:pt x="1015" y="363"/>
                  </a:lnTo>
                  <a:lnTo>
                    <a:pt x="999" y="350"/>
                  </a:lnTo>
                  <a:lnTo>
                    <a:pt x="984" y="340"/>
                  </a:lnTo>
                  <a:lnTo>
                    <a:pt x="963" y="319"/>
                  </a:lnTo>
                  <a:lnTo>
                    <a:pt x="953" y="299"/>
                  </a:lnTo>
                  <a:lnTo>
                    <a:pt x="945" y="283"/>
                  </a:lnTo>
                  <a:lnTo>
                    <a:pt x="943" y="250"/>
                  </a:lnTo>
                  <a:lnTo>
                    <a:pt x="932" y="226"/>
                  </a:lnTo>
                  <a:lnTo>
                    <a:pt x="925" y="211"/>
                  </a:lnTo>
                  <a:lnTo>
                    <a:pt x="922" y="180"/>
                  </a:lnTo>
                  <a:lnTo>
                    <a:pt x="919" y="160"/>
                  </a:lnTo>
                  <a:lnTo>
                    <a:pt x="914" y="144"/>
                  </a:lnTo>
                  <a:lnTo>
                    <a:pt x="909" y="129"/>
                  </a:lnTo>
                  <a:lnTo>
                    <a:pt x="901" y="113"/>
                  </a:lnTo>
                  <a:lnTo>
                    <a:pt x="904" y="105"/>
                  </a:lnTo>
                  <a:lnTo>
                    <a:pt x="904" y="77"/>
                  </a:lnTo>
                  <a:lnTo>
                    <a:pt x="909" y="64"/>
                  </a:lnTo>
                  <a:lnTo>
                    <a:pt x="935" y="54"/>
                  </a:lnTo>
                  <a:lnTo>
                    <a:pt x="945" y="28"/>
                  </a:lnTo>
                  <a:lnTo>
                    <a:pt x="945" y="28"/>
                  </a:lnTo>
                  <a:lnTo>
                    <a:pt x="925" y="39"/>
                  </a:lnTo>
                  <a:lnTo>
                    <a:pt x="925" y="39"/>
                  </a:lnTo>
                  <a:lnTo>
                    <a:pt x="899" y="33"/>
                  </a:lnTo>
                  <a:lnTo>
                    <a:pt x="883" y="23"/>
                  </a:lnTo>
                  <a:lnTo>
                    <a:pt x="868" y="13"/>
                  </a:lnTo>
                  <a:lnTo>
                    <a:pt x="840" y="8"/>
                  </a:lnTo>
                  <a:lnTo>
                    <a:pt x="816" y="0"/>
                  </a:lnTo>
                  <a:lnTo>
                    <a:pt x="793" y="3"/>
                  </a:lnTo>
                  <a:lnTo>
                    <a:pt x="770" y="3"/>
                  </a:lnTo>
                  <a:lnTo>
                    <a:pt x="752" y="13"/>
                  </a:lnTo>
                  <a:lnTo>
                    <a:pt x="737" y="28"/>
                  </a:lnTo>
                  <a:lnTo>
                    <a:pt x="721" y="44"/>
                  </a:lnTo>
                  <a:lnTo>
                    <a:pt x="698" y="46"/>
                  </a:lnTo>
                  <a:lnTo>
                    <a:pt x="672" y="41"/>
                  </a:lnTo>
                  <a:lnTo>
                    <a:pt x="644" y="26"/>
                  </a:lnTo>
                  <a:lnTo>
                    <a:pt x="644" y="26"/>
                  </a:lnTo>
                  <a:lnTo>
                    <a:pt x="623" y="33"/>
                  </a:lnTo>
                  <a:lnTo>
                    <a:pt x="600" y="36"/>
                  </a:lnTo>
                  <a:lnTo>
                    <a:pt x="582" y="46"/>
                  </a:lnTo>
                  <a:lnTo>
                    <a:pt x="564" y="54"/>
                  </a:lnTo>
                  <a:lnTo>
                    <a:pt x="546" y="44"/>
                  </a:lnTo>
                  <a:lnTo>
                    <a:pt x="520" y="39"/>
                  </a:lnTo>
                  <a:lnTo>
                    <a:pt x="502" y="46"/>
                  </a:lnTo>
                  <a:lnTo>
                    <a:pt x="484" y="64"/>
                  </a:lnTo>
                  <a:lnTo>
                    <a:pt x="464" y="64"/>
                  </a:lnTo>
                  <a:lnTo>
                    <a:pt x="459" y="49"/>
                  </a:lnTo>
                  <a:lnTo>
                    <a:pt x="441" y="39"/>
                  </a:lnTo>
                  <a:lnTo>
                    <a:pt x="417" y="39"/>
                  </a:lnTo>
                  <a:lnTo>
                    <a:pt x="399" y="51"/>
                  </a:lnTo>
                  <a:lnTo>
                    <a:pt x="384" y="67"/>
                  </a:lnTo>
                  <a:lnTo>
                    <a:pt x="363" y="77"/>
                  </a:lnTo>
                  <a:lnTo>
                    <a:pt x="358" y="59"/>
                  </a:lnTo>
                  <a:lnTo>
                    <a:pt x="332" y="57"/>
                  </a:lnTo>
                  <a:lnTo>
                    <a:pt x="301" y="41"/>
                  </a:lnTo>
                  <a:lnTo>
                    <a:pt x="278" y="44"/>
                  </a:lnTo>
                  <a:lnTo>
                    <a:pt x="253" y="36"/>
                  </a:lnTo>
                  <a:lnTo>
                    <a:pt x="237" y="26"/>
                  </a:lnTo>
                  <a:lnTo>
                    <a:pt x="219" y="8"/>
                  </a:lnTo>
                  <a:lnTo>
                    <a:pt x="191" y="3"/>
                  </a:lnTo>
                  <a:lnTo>
                    <a:pt x="173" y="10"/>
                  </a:lnTo>
                  <a:lnTo>
                    <a:pt x="157" y="26"/>
                  </a:lnTo>
                  <a:lnTo>
                    <a:pt x="134" y="28"/>
                  </a:lnTo>
                  <a:lnTo>
                    <a:pt x="119" y="18"/>
                  </a:lnTo>
                  <a:lnTo>
                    <a:pt x="101" y="8"/>
                  </a:lnTo>
                  <a:lnTo>
                    <a:pt x="83" y="15"/>
                  </a:lnTo>
                  <a:lnTo>
                    <a:pt x="62" y="26"/>
                  </a:lnTo>
                  <a:lnTo>
                    <a:pt x="44" y="33"/>
                  </a:lnTo>
                  <a:lnTo>
                    <a:pt x="41" y="54"/>
                  </a:lnTo>
                  <a:lnTo>
                    <a:pt x="34" y="85"/>
                  </a:lnTo>
                  <a:lnTo>
                    <a:pt x="34" y="105"/>
                  </a:lnTo>
                  <a:lnTo>
                    <a:pt x="41" y="118"/>
                  </a:lnTo>
                  <a:lnTo>
                    <a:pt x="54" y="136"/>
                  </a:lnTo>
                  <a:lnTo>
                    <a:pt x="62" y="180"/>
                  </a:lnTo>
                  <a:lnTo>
                    <a:pt x="49" y="170"/>
                  </a:lnTo>
                  <a:lnTo>
                    <a:pt x="39" y="178"/>
                  </a:lnTo>
                  <a:lnTo>
                    <a:pt x="34" y="180"/>
                  </a:lnTo>
                  <a:lnTo>
                    <a:pt x="21" y="190"/>
                  </a:lnTo>
                  <a:lnTo>
                    <a:pt x="11" y="208"/>
                  </a:lnTo>
                  <a:lnTo>
                    <a:pt x="3" y="224"/>
                  </a:lnTo>
                  <a:lnTo>
                    <a:pt x="0" y="245"/>
                  </a:lnTo>
                  <a:lnTo>
                    <a:pt x="3" y="247"/>
                  </a:lnTo>
                  <a:lnTo>
                    <a:pt x="3" y="247"/>
                  </a:lnTo>
                  <a:lnTo>
                    <a:pt x="26" y="245"/>
                  </a:lnTo>
                  <a:lnTo>
                    <a:pt x="49" y="245"/>
                  </a:lnTo>
                  <a:lnTo>
                    <a:pt x="65" y="255"/>
                  </a:lnTo>
                  <a:lnTo>
                    <a:pt x="80" y="265"/>
                  </a:lnTo>
                  <a:lnTo>
                    <a:pt x="70" y="288"/>
                  </a:lnTo>
                  <a:lnTo>
                    <a:pt x="75" y="304"/>
                  </a:lnTo>
                  <a:lnTo>
                    <a:pt x="98" y="304"/>
                  </a:lnTo>
                  <a:lnTo>
                    <a:pt x="124" y="309"/>
                  </a:lnTo>
                  <a:lnTo>
                    <a:pt x="129" y="324"/>
                  </a:lnTo>
                  <a:lnTo>
                    <a:pt x="150" y="335"/>
                  </a:lnTo>
                  <a:lnTo>
                    <a:pt x="162" y="317"/>
                  </a:lnTo>
                  <a:close/>
                </a:path>
              </a:pathLst>
            </a:custGeom>
            <a:solidFill>
              <a:srgbClr val="92D05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25">
              <a:extLst>
                <a:ext uri="{FF2B5EF4-FFF2-40B4-BE49-F238E27FC236}">
                  <a16:creationId xmlns:a16="http://schemas.microsoft.com/office/drawing/2014/main" id="{2687DE73-70A1-C110-DA7E-9B79B439A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1132" y="1846280"/>
              <a:ext cx="518875" cy="456502"/>
            </a:xfrm>
            <a:custGeom>
              <a:avLst/>
              <a:gdLst>
                <a:gd name="T0" fmla="*/ 54 w 574"/>
                <a:gd name="T1" fmla="*/ 26 h 505"/>
                <a:gd name="T2" fmla="*/ 44 w 574"/>
                <a:gd name="T3" fmla="*/ 31 h 505"/>
                <a:gd name="T4" fmla="*/ 8 w 574"/>
                <a:gd name="T5" fmla="*/ 47 h 505"/>
                <a:gd name="T6" fmla="*/ 0 w 574"/>
                <a:gd name="T7" fmla="*/ 88 h 505"/>
                <a:gd name="T8" fmla="*/ 31 w 574"/>
                <a:gd name="T9" fmla="*/ 103 h 505"/>
                <a:gd name="T10" fmla="*/ 44 w 574"/>
                <a:gd name="T11" fmla="*/ 119 h 505"/>
                <a:gd name="T12" fmla="*/ 41 w 574"/>
                <a:gd name="T13" fmla="*/ 124 h 505"/>
                <a:gd name="T14" fmla="*/ 18 w 574"/>
                <a:gd name="T15" fmla="*/ 124 h 505"/>
                <a:gd name="T16" fmla="*/ 26 w 574"/>
                <a:gd name="T17" fmla="*/ 155 h 505"/>
                <a:gd name="T18" fmla="*/ 39 w 574"/>
                <a:gd name="T19" fmla="*/ 165 h 505"/>
                <a:gd name="T20" fmla="*/ 62 w 574"/>
                <a:gd name="T21" fmla="*/ 183 h 505"/>
                <a:gd name="T22" fmla="*/ 75 w 574"/>
                <a:gd name="T23" fmla="*/ 204 h 505"/>
                <a:gd name="T24" fmla="*/ 108 w 574"/>
                <a:gd name="T25" fmla="*/ 194 h 505"/>
                <a:gd name="T26" fmla="*/ 155 w 574"/>
                <a:gd name="T27" fmla="*/ 217 h 505"/>
                <a:gd name="T28" fmla="*/ 178 w 574"/>
                <a:gd name="T29" fmla="*/ 227 h 505"/>
                <a:gd name="T30" fmla="*/ 214 w 574"/>
                <a:gd name="T31" fmla="*/ 222 h 505"/>
                <a:gd name="T32" fmla="*/ 219 w 574"/>
                <a:gd name="T33" fmla="*/ 235 h 505"/>
                <a:gd name="T34" fmla="*/ 211 w 574"/>
                <a:gd name="T35" fmla="*/ 253 h 505"/>
                <a:gd name="T36" fmla="*/ 240 w 574"/>
                <a:gd name="T37" fmla="*/ 294 h 505"/>
                <a:gd name="T38" fmla="*/ 247 w 574"/>
                <a:gd name="T39" fmla="*/ 345 h 505"/>
                <a:gd name="T40" fmla="*/ 258 w 574"/>
                <a:gd name="T41" fmla="*/ 381 h 505"/>
                <a:gd name="T42" fmla="*/ 273 w 574"/>
                <a:gd name="T43" fmla="*/ 412 h 505"/>
                <a:gd name="T44" fmla="*/ 291 w 574"/>
                <a:gd name="T45" fmla="*/ 443 h 505"/>
                <a:gd name="T46" fmla="*/ 332 w 574"/>
                <a:gd name="T47" fmla="*/ 464 h 505"/>
                <a:gd name="T48" fmla="*/ 368 w 574"/>
                <a:gd name="T49" fmla="*/ 456 h 505"/>
                <a:gd name="T50" fmla="*/ 373 w 574"/>
                <a:gd name="T51" fmla="*/ 492 h 505"/>
                <a:gd name="T52" fmla="*/ 410 w 574"/>
                <a:gd name="T53" fmla="*/ 502 h 505"/>
                <a:gd name="T54" fmla="*/ 425 w 574"/>
                <a:gd name="T55" fmla="*/ 505 h 505"/>
                <a:gd name="T56" fmla="*/ 464 w 574"/>
                <a:gd name="T57" fmla="*/ 487 h 505"/>
                <a:gd name="T58" fmla="*/ 484 w 574"/>
                <a:gd name="T59" fmla="*/ 459 h 505"/>
                <a:gd name="T60" fmla="*/ 523 w 574"/>
                <a:gd name="T61" fmla="*/ 441 h 505"/>
                <a:gd name="T62" fmla="*/ 554 w 574"/>
                <a:gd name="T63" fmla="*/ 410 h 505"/>
                <a:gd name="T64" fmla="*/ 574 w 574"/>
                <a:gd name="T65" fmla="*/ 399 h 505"/>
                <a:gd name="T66" fmla="*/ 572 w 574"/>
                <a:gd name="T67" fmla="*/ 374 h 505"/>
                <a:gd name="T68" fmla="*/ 551 w 574"/>
                <a:gd name="T69" fmla="*/ 327 h 505"/>
                <a:gd name="T70" fmla="*/ 523 w 574"/>
                <a:gd name="T71" fmla="*/ 286 h 505"/>
                <a:gd name="T72" fmla="*/ 500 w 574"/>
                <a:gd name="T73" fmla="*/ 242 h 505"/>
                <a:gd name="T74" fmla="*/ 466 w 574"/>
                <a:gd name="T75" fmla="*/ 196 h 505"/>
                <a:gd name="T76" fmla="*/ 433 w 574"/>
                <a:gd name="T77" fmla="*/ 147 h 505"/>
                <a:gd name="T78" fmla="*/ 384 w 574"/>
                <a:gd name="T79" fmla="*/ 114 h 505"/>
                <a:gd name="T80" fmla="*/ 325 w 574"/>
                <a:gd name="T81" fmla="*/ 91 h 505"/>
                <a:gd name="T82" fmla="*/ 263 w 574"/>
                <a:gd name="T83" fmla="*/ 54 h 505"/>
                <a:gd name="T84" fmla="*/ 222 w 574"/>
                <a:gd name="T85" fmla="*/ 18 h 505"/>
                <a:gd name="T86" fmla="*/ 180 w 574"/>
                <a:gd name="T87" fmla="*/ 0 h 505"/>
                <a:gd name="T88" fmla="*/ 180 w 574"/>
                <a:gd name="T89" fmla="*/ 18 h 505"/>
                <a:gd name="T90" fmla="*/ 170 w 574"/>
                <a:gd name="T91" fmla="*/ 52 h 505"/>
                <a:gd name="T92" fmla="*/ 137 w 574"/>
                <a:gd name="T93" fmla="*/ 57 h 505"/>
                <a:gd name="T94" fmla="*/ 121 w 574"/>
                <a:gd name="T95" fmla="*/ 47 h 505"/>
                <a:gd name="T96" fmla="*/ 103 w 574"/>
                <a:gd name="T97" fmla="*/ 42 h 505"/>
                <a:gd name="T98" fmla="*/ 77 w 574"/>
                <a:gd name="T99" fmla="*/ 26 h 505"/>
                <a:gd name="T100" fmla="*/ 70 w 574"/>
                <a:gd name="T101" fmla="*/ 8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74" h="505">
                  <a:moveTo>
                    <a:pt x="70" y="8"/>
                  </a:moveTo>
                  <a:lnTo>
                    <a:pt x="54" y="26"/>
                  </a:lnTo>
                  <a:lnTo>
                    <a:pt x="54" y="26"/>
                  </a:lnTo>
                  <a:lnTo>
                    <a:pt x="44" y="31"/>
                  </a:lnTo>
                  <a:lnTo>
                    <a:pt x="26" y="39"/>
                  </a:lnTo>
                  <a:lnTo>
                    <a:pt x="8" y="47"/>
                  </a:lnTo>
                  <a:lnTo>
                    <a:pt x="5" y="67"/>
                  </a:lnTo>
                  <a:lnTo>
                    <a:pt x="0" y="88"/>
                  </a:lnTo>
                  <a:lnTo>
                    <a:pt x="8" y="103"/>
                  </a:lnTo>
                  <a:lnTo>
                    <a:pt x="31" y="103"/>
                  </a:lnTo>
                  <a:lnTo>
                    <a:pt x="39" y="106"/>
                  </a:lnTo>
                  <a:lnTo>
                    <a:pt x="44" y="119"/>
                  </a:lnTo>
                  <a:lnTo>
                    <a:pt x="44" y="124"/>
                  </a:lnTo>
                  <a:lnTo>
                    <a:pt x="41" y="124"/>
                  </a:lnTo>
                  <a:lnTo>
                    <a:pt x="23" y="119"/>
                  </a:lnTo>
                  <a:lnTo>
                    <a:pt x="18" y="124"/>
                  </a:lnTo>
                  <a:lnTo>
                    <a:pt x="16" y="145"/>
                  </a:lnTo>
                  <a:lnTo>
                    <a:pt x="26" y="155"/>
                  </a:lnTo>
                  <a:lnTo>
                    <a:pt x="41" y="165"/>
                  </a:lnTo>
                  <a:lnTo>
                    <a:pt x="39" y="165"/>
                  </a:lnTo>
                  <a:lnTo>
                    <a:pt x="62" y="160"/>
                  </a:lnTo>
                  <a:lnTo>
                    <a:pt x="62" y="183"/>
                  </a:lnTo>
                  <a:lnTo>
                    <a:pt x="67" y="199"/>
                  </a:lnTo>
                  <a:lnTo>
                    <a:pt x="75" y="204"/>
                  </a:lnTo>
                  <a:lnTo>
                    <a:pt x="93" y="201"/>
                  </a:lnTo>
                  <a:lnTo>
                    <a:pt x="108" y="194"/>
                  </a:lnTo>
                  <a:lnTo>
                    <a:pt x="124" y="194"/>
                  </a:lnTo>
                  <a:lnTo>
                    <a:pt x="155" y="217"/>
                  </a:lnTo>
                  <a:lnTo>
                    <a:pt x="165" y="227"/>
                  </a:lnTo>
                  <a:lnTo>
                    <a:pt x="178" y="227"/>
                  </a:lnTo>
                  <a:lnTo>
                    <a:pt x="198" y="222"/>
                  </a:lnTo>
                  <a:lnTo>
                    <a:pt x="214" y="222"/>
                  </a:lnTo>
                  <a:lnTo>
                    <a:pt x="219" y="227"/>
                  </a:lnTo>
                  <a:lnTo>
                    <a:pt x="219" y="235"/>
                  </a:lnTo>
                  <a:lnTo>
                    <a:pt x="214" y="250"/>
                  </a:lnTo>
                  <a:lnTo>
                    <a:pt x="211" y="253"/>
                  </a:lnTo>
                  <a:lnTo>
                    <a:pt x="227" y="271"/>
                  </a:lnTo>
                  <a:lnTo>
                    <a:pt x="240" y="294"/>
                  </a:lnTo>
                  <a:lnTo>
                    <a:pt x="242" y="320"/>
                  </a:lnTo>
                  <a:lnTo>
                    <a:pt x="247" y="345"/>
                  </a:lnTo>
                  <a:lnTo>
                    <a:pt x="255" y="363"/>
                  </a:lnTo>
                  <a:lnTo>
                    <a:pt x="258" y="381"/>
                  </a:lnTo>
                  <a:lnTo>
                    <a:pt x="263" y="399"/>
                  </a:lnTo>
                  <a:lnTo>
                    <a:pt x="273" y="412"/>
                  </a:lnTo>
                  <a:lnTo>
                    <a:pt x="278" y="436"/>
                  </a:lnTo>
                  <a:lnTo>
                    <a:pt x="291" y="443"/>
                  </a:lnTo>
                  <a:lnTo>
                    <a:pt x="314" y="443"/>
                  </a:lnTo>
                  <a:lnTo>
                    <a:pt x="332" y="464"/>
                  </a:lnTo>
                  <a:lnTo>
                    <a:pt x="361" y="459"/>
                  </a:lnTo>
                  <a:lnTo>
                    <a:pt x="368" y="456"/>
                  </a:lnTo>
                  <a:lnTo>
                    <a:pt x="376" y="474"/>
                  </a:lnTo>
                  <a:lnTo>
                    <a:pt x="373" y="492"/>
                  </a:lnTo>
                  <a:lnTo>
                    <a:pt x="394" y="492"/>
                  </a:lnTo>
                  <a:lnTo>
                    <a:pt x="410" y="502"/>
                  </a:lnTo>
                  <a:lnTo>
                    <a:pt x="425" y="505"/>
                  </a:lnTo>
                  <a:lnTo>
                    <a:pt x="425" y="505"/>
                  </a:lnTo>
                  <a:lnTo>
                    <a:pt x="440" y="490"/>
                  </a:lnTo>
                  <a:lnTo>
                    <a:pt x="464" y="487"/>
                  </a:lnTo>
                  <a:lnTo>
                    <a:pt x="466" y="469"/>
                  </a:lnTo>
                  <a:lnTo>
                    <a:pt x="484" y="459"/>
                  </a:lnTo>
                  <a:lnTo>
                    <a:pt x="507" y="459"/>
                  </a:lnTo>
                  <a:lnTo>
                    <a:pt x="523" y="441"/>
                  </a:lnTo>
                  <a:lnTo>
                    <a:pt x="541" y="433"/>
                  </a:lnTo>
                  <a:lnTo>
                    <a:pt x="554" y="410"/>
                  </a:lnTo>
                  <a:lnTo>
                    <a:pt x="574" y="399"/>
                  </a:lnTo>
                  <a:lnTo>
                    <a:pt x="574" y="399"/>
                  </a:lnTo>
                  <a:lnTo>
                    <a:pt x="574" y="399"/>
                  </a:lnTo>
                  <a:lnTo>
                    <a:pt x="572" y="374"/>
                  </a:lnTo>
                  <a:lnTo>
                    <a:pt x="564" y="358"/>
                  </a:lnTo>
                  <a:lnTo>
                    <a:pt x="551" y="327"/>
                  </a:lnTo>
                  <a:lnTo>
                    <a:pt x="528" y="304"/>
                  </a:lnTo>
                  <a:lnTo>
                    <a:pt x="523" y="286"/>
                  </a:lnTo>
                  <a:lnTo>
                    <a:pt x="510" y="266"/>
                  </a:lnTo>
                  <a:lnTo>
                    <a:pt x="500" y="242"/>
                  </a:lnTo>
                  <a:lnTo>
                    <a:pt x="487" y="212"/>
                  </a:lnTo>
                  <a:lnTo>
                    <a:pt x="466" y="196"/>
                  </a:lnTo>
                  <a:lnTo>
                    <a:pt x="453" y="165"/>
                  </a:lnTo>
                  <a:lnTo>
                    <a:pt x="433" y="147"/>
                  </a:lnTo>
                  <a:lnTo>
                    <a:pt x="399" y="127"/>
                  </a:lnTo>
                  <a:lnTo>
                    <a:pt x="384" y="114"/>
                  </a:lnTo>
                  <a:lnTo>
                    <a:pt x="350" y="93"/>
                  </a:lnTo>
                  <a:lnTo>
                    <a:pt x="325" y="91"/>
                  </a:lnTo>
                  <a:lnTo>
                    <a:pt x="296" y="75"/>
                  </a:lnTo>
                  <a:lnTo>
                    <a:pt x="263" y="54"/>
                  </a:lnTo>
                  <a:lnTo>
                    <a:pt x="242" y="36"/>
                  </a:lnTo>
                  <a:lnTo>
                    <a:pt x="222" y="18"/>
                  </a:lnTo>
                  <a:lnTo>
                    <a:pt x="196" y="13"/>
                  </a:lnTo>
                  <a:lnTo>
                    <a:pt x="180" y="0"/>
                  </a:lnTo>
                  <a:lnTo>
                    <a:pt x="178" y="3"/>
                  </a:lnTo>
                  <a:lnTo>
                    <a:pt x="180" y="18"/>
                  </a:lnTo>
                  <a:lnTo>
                    <a:pt x="178" y="36"/>
                  </a:lnTo>
                  <a:lnTo>
                    <a:pt x="170" y="52"/>
                  </a:lnTo>
                  <a:lnTo>
                    <a:pt x="152" y="60"/>
                  </a:lnTo>
                  <a:lnTo>
                    <a:pt x="137" y="57"/>
                  </a:lnTo>
                  <a:lnTo>
                    <a:pt x="129" y="47"/>
                  </a:lnTo>
                  <a:lnTo>
                    <a:pt x="121" y="47"/>
                  </a:lnTo>
                  <a:lnTo>
                    <a:pt x="113" y="36"/>
                  </a:lnTo>
                  <a:lnTo>
                    <a:pt x="103" y="42"/>
                  </a:lnTo>
                  <a:lnTo>
                    <a:pt x="85" y="39"/>
                  </a:lnTo>
                  <a:lnTo>
                    <a:pt x="77" y="26"/>
                  </a:lnTo>
                  <a:lnTo>
                    <a:pt x="72" y="6"/>
                  </a:lnTo>
                  <a:lnTo>
                    <a:pt x="70" y="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D9FCDB25-354D-6ACD-B1D7-F462235F7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8590" y="1990914"/>
              <a:ext cx="372433" cy="449270"/>
            </a:xfrm>
            <a:custGeom>
              <a:avLst/>
              <a:gdLst>
                <a:gd name="T0" fmla="*/ 64 w 412"/>
                <a:gd name="T1" fmla="*/ 34 h 497"/>
                <a:gd name="T2" fmla="*/ 44 w 412"/>
                <a:gd name="T3" fmla="*/ 67 h 497"/>
                <a:gd name="T4" fmla="*/ 52 w 412"/>
                <a:gd name="T5" fmla="*/ 106 h 497"/>
                <a:gd name="T6" fmla="*/ 77 w 412"/>
                <a:gd name="T7" fmla="*/ 126 h 497"/>
                <a:gd name="T8" fmla="*/ 95 w 412"/>
                <a:gd name="T9" fmla="*/ 131 h 497"/>
                <a:gd name="T10" fmla="*/ 49 w 412"/>
                <a:gd name="T11" fmla="*/ 175 h 497"/>
                <a:gd name="T12" fmla="*/ 16 w 412"/>
                <a:gd name="T13" fmla="*/ 209 h 497"/>
                <a:gd name="T14" fmla="*/ 10 w 412"/>
                <a:gd name="T15" fmla="*/ 247 h 497"/>
                <a:gd name="T16" fmla="*/ 13 w 412"/>
                <a:gd name="T17" fmla="*/ 304 h 497"/>
                <a:gd name="T18" fmla="*/ 0 w 412"/>
                <a:gd name="T19" fmla="*/ 345 h 497"/>
                <a:gd name="T20" fmla="*/ 0 w 412"/>
                <a:gd name="T21" fmla="*/ 345 h 497"/>
                <a:gd name="T22" fmla="*/ 21 w 412"/>
                <a:gd name="T23" fmla="*/ 342 h 497"/>
                <a:gd name="T24" fmla="*/ 26 w 412"/>
                <a:gd name="T25" fmla="*/ 376 h 497"/>
                <a:gd name="T26" fmla="*/ 41 w 412"/>
                <a:gd name="T27" fmla="*/ 407 h 497"/>
                <a:gd name="T28" fmla="*/ 82 w 412"/>
                <a:gd name="T29" fmla="*/ 397 h 497"/>
                <a:gd name="T30" fmla="*/ 119 w 412"/>
                <a:gd name="T31" fmla="*/ 425 h 497"/>
                <a:gd name="T32" fmla="*/ 142 w 412"/>
                <a:gd name="T33" fmla="*/ 451 h 497"/>
                <a:gd name="T34" fmla="*/ 173 w 412"/>
                <a:gd name="T35" fmla="*/ 469 h 497"/>
                <a:gd name="T36" fmla="*/ 196 w 412"/>
                <a:gd name="T37" fmla="*/ 497 h 497"/>
                <a:gd name="T38" fmla="*/ 247 w 412"/>
                <a:gd name="T39" fmla="*/ 481 h 497"/>
                <a:gd name="T40" fmla="*/ 278 w 412"/>
                <a:gd name="T41" fmla="*/ 448 h 497"/>
                <a:gd name="T42" fmla="*/ 309 w 412"/>
                <a:gd name="T43" fmla="*/ 417 h 497"/>
                <a:gd name="T44" fmla="*/ 348 w 412"/>
                <a:gd name="T45" fmla="*/ 397 h 497"/>
                <a:gd name="T46" fmla="*/ 384 w 412"/>
                <a:gd name="T47" fmla="*/ 378 h 497"/>
                <a:gd name="T48" fmla="*/ 409 w 412"/>
                <a:gd name="T49" fmla="*/ 332 h 497"/>
                <a:gd name="T50" fmla="*/ 409 w 412"/>
                <a:gd name="T51" fmla="*/ 332 h 497"/>
                <a:gd name="T52" fmla="*/ 404 w 412"/>
                <a:gd name="T53" fmla="*/ 296 h 497"/>
                <a:gd name="T54" fmla="*/ 368 w 412"/>
                <a:gd name="T55" fmla="*/ 304 h 497"/>
                <a:gd name="T56" fmla="*/ 327 w 412"/>
                <a:gd name="T57" fmla="*/ 283 h 497"/>
                <a:gd name="T58" fmla="*/ 309 w 412"/>
                <a:gd name="T59" fmla="*/ 252 h 497"/>
                <a:gd name="T60" fmla="*/ 294 w 412"/>
                <a:gd name="T61" fmla="*/ 221 h 497"/>
                <a:gd name="T62" fmla="*/ 283 w 412"/>
                <a:gd name="T63" fmla="*/ 183 h 497"/>
                <a:gd name="T64" fmla="*/ 276 w 412"/>
                <a:gd name="T65" fmla="*/ 134 h 497"/>
                <a:gd name="T66" fmla="*/ 247 w 412"/>
                <a:gd name="T67" fmla="*/ 93 h 497"/>
                <a:gd name="T68" fmla="*/ 255 w 412"/>
                <a:gd name="T69" fmla="*/ 75 h 497"/>
                <a:gd name="T70" fmla="*/ 250 w 412"/>
                <a:gd name="T71" fmla="*/ 62 h 497"/>
                <a:gd name="T72" fmla="*/ 214 w 412"/>
                <a:gd name="T73" fmla="*/ 67 h 497"/>
                <a:gd name="T74" fmla="*/ 191 w 412"/>
                <a:gd name="T75" fmla="*/ 57 h 497"/>
                <a:gd name="T76" fmla="*/ 144 w 412"/>
                <a:gd name="T77" fmla="*/ 34 h 497"/>
                <a:gd name="T78" fmla="*/ 111 w 412"/>
                <a:gd name="T79" fmla="*/ 44 h 497"/>
                <a:gd name="T80" fmla="*/ 98 w 412"/>
                <a:gd name="T81" fmla="*/ 23 h 497"/>
                <a:gd name="T82" fmla="*/ 75 w 412"/>
                <a:gd name="T83" fmla="*/ 5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2" h="497">
                  <a:moveTo>
                    <a:pt x="75" y="8"/>
                  </a:moveTo>
                  <a:lnTo>
                    <a:pt x="64" y="34"/>
                  </a:lnTo>
                  <a:lnTo>
                    <a:pt x="46" y="49"/>
                  </a:lnTo>
                  <a:lnTo>
                    <a:pt x="44" y="67"/>
                  </a:lnTo>
                  <a:lnTo>
                    <a:pt x="49" y="88"/>
                  </a:lnTo>
                  <a:lnTo>
                    <a:pt x="52" y="106"/>
                  </a:lnTo>
                  <a:lnTo>
                    <a:pt x="54" y="116"/>
                  </a:lnTo>
                  <a:lnTo>
                    <a:pt x="77" y="126"/>
                  </a:lnTo>
                  <a:lnTo>
                    <a:pt x="93" y="121"/>
                  </a:lnTo>
                  <a:lnTo>
                    <a:pt x="95" y="131"/>
                  </a:lnTo>
                  <a:lnTo>
                    <a:pt x="85" y="142"/>
                  </a:lnTo>
                  <a:lnTo>
                    <a:pt x="49" y="175"/>
                  </a:lnTo>
                  <a:lnTo>
                    <a:pt x="28" y="188"/>
                  </a:lnTo>
                  <a:lnTo>
                    <a:pt x="16" y="209"/>
                  </a:lnTo>
                  <a:lnTo>
                    <a:pt x="13" y="229"/>
                  </a:lnTo>
                  <a:lnTo>
                    <a:pt x="10" y="247"/>
                  </a:lnTo>
                  <a:lnTo>
                    <a:pt x="13" y="276"/>
                  </a:lnTo>
                  <a:lnTo>
                    <a:pt x="13" y="304"/>
                  </a:lnTo>
                  <a:lnTo>
                    <a:pt x="10" y="322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1" y="342"/>
                  </a:lnTo>
                  <a:lnTo>
                    <a:pt x="28" y="358"/>
                  </a:lnTo>
                  <a:lnTo>
                    <a:pt x="26" y="376"/>
                  </a:lnTo>
                  <a:lnTo>
                    <a:pt x="34" y="391"/>
                  </a:lnTo>
                  <a:lnTo>
                    <a:pt x="41" y="407"/>
                  </a:lnTo>
                  <a:lnTo>
                    <a:pt x="62" y="404"/>
                  </a:lnTo>
                  <a:lnTo>
                    <a:pt x="82" y="397"/>
                  </a:lnTo>
                  <a:lnTo>
                    <a:pt x="98" y="407"/>
                  </a:lnTo>
                  <a:lnTo>
                    <a:pt x="119" y="425"/>
                  </a:lnTo>
                  <a:lnTo>
                    <a:pt x="134" y="435"/>
                  </a:lnTo>
                  <a:lnTo>
                    <a:pt x="142" y="451"/>
                  </a:lnTo>
                  <a:lnTo>
                    <a:pt x="147" y="466"/>
                  </a:lnTo>
                  <a:lnTo>
                    <a:pt x="173" y="469"/>
                  </a:lnTo>
                  <a:lnTo>
                    <a:pt x="180" y="487"/>
                  </a:lnTo>
                  <a:lnTo>
                    <a:pt x="196" y="497"/>
                  </a:lnTo>
                  <a:lnTo>
                    <a:pt x="229" y="492"/>
                  </a:lnTo>
                  <a:lnTo>
                    <a:pt x="247" y="481"/>
                  </a:lnTo>
                  <a:lnTo>
                    <a:pt x="263" y="466"/>
                  </a:lnTo>
                  <a:lnTo>
                    <a:pt x="278" y="448"/>
                  </a:lnTo>
                  <a:lnTo>
                    <a:pt x="294" y="433"/>
                  </a:lnTo>
                  <a:lnTo>
                    <a:pt x="309" y="417"/>
                  </a:lnTo>
                  <a:lnTo>
                    <a:pt x="325" y="399"/>
                  </a:lnTo>
                  <a:lnTo>
                    <a:pt x="348" y="397"/>
                  </a:lnTo>
                  <a:lnTo>
                    <a:pt x="363" y="381"/>
                  </a:lnTo>
                  <a:lnTo>
                    <a:pt x="384" y="378"/>
                  </a:lnTo>
                  <a:lnTo>
                    <a:pt x="399" y="358"/>
                  </a:lnTo>
                  <a:lnTo>
                    <a:pt x="409" y="332"/>
                  </a:lnTo>
                  <a:lnTo>
                    <a:pt x="409" y="332"/>
                  </a:lnTo>
                  <a:lnTo>
                    <a:pt x="409" y="332"/>
                  </a:lnTo>
                  <a:lnTo>
                    <a:pt x="412" y="314"/>
                  </a:lnTo>
                  <a:lnTo>
                    <a:pt x="404" y="296"/>
                  </a:lnTo>
                  <a:lnTo>
                    <a:pt x="397" y="299"/>
                  </a:lnTo>
                  <a:lnTo>
                    <a:pt x="368" y="304"/>
                  </a:lnTo>
                  <a:lnTo>
                    <a:pt x="350" y="283"/>
                  </a:lnTo>
                  <a:lnTo>
                    <a:pt x="327" y="283"/>
                  </a:lnTo>
                  <a:lnTo>
                    <a:pt x="314" y="276"/>
                  </a:lnTo>
                  <a:lnTo>
                    <a:pt x="309" y="252"/>
                  </a:lnTo>
                  <a:lnTo>
                    <a:pt x="299" y="237"/>
                  </a:lnTo>
                  <a:lnTo>
                    <a:pt x="294" y="221"/>
                  </a:lnTo>
                  <a:lnTo>
                    <a:pt x="291" y="203"/>
                  </a:lnTo>
                  <a:lnTo>
                    <a:pt x="283" y="183"/>
                  </a:lnTo>
                  <a:lnTo>
                    <a:pt x="278" y="157"/>
                  </a:lnTo>
                  <a:lnTo>
                    <a:pt x="276" y="134"/>
                  </a:lnTo>
                  <a:lnTo>
                    <a:pt x="263" y="111"/>
                  </a:lnTo>
                  <a:lnTo>
                    <a:pt x="247" y="93"/>
                  </a:lnTo>
                  <a:lnTo>
                    <a:pt x="250" y="90"/>
                  </a:lnTo>
                  <a:lnTo>
                    <a:pt x="255" y="75"/>
                  </a:lnTo>
                  <a:lnTo>
                    <a:pt x="255" y="67"/>
                  </a:lnTo>
                  <a:lnTo>
                    <a:pt x="250" y="62"/>
                  </a:lnTo>
                  <a:lnTo>
                    <a:pt x="234" y="62"/>
                  </a:lnTo>
                  <a:lnTo>
                    <a:pt x="214" y="67"/>
                  </a:lnTo>
                  <a:lnTo>
                    <a:pt x="201" y="64"/>
                  </a:lnTo>
                  <a:lnTo>
                    <a:pt x="191" y="57"/>
                  </a:lnTo>
                  <a:lnTo>
                    <a:pt x="160" y="34"/>
                  </a:lnTo>
                  <a:lnTo>
                    <a:pt x="144" y="34"/>
                  </a:lnTo>
                  <a:lnTo>
                    <a:pt x="129" y="41"/>
                  </a:lnTo>
                  <a:lnTo>
                    <a:pt x="111" y="44"/>
                  </a:lnTo>
                  <a:lnTo>
                    <a:pt x="103" y="39"/>
                  </a:lnTo>
                  <a:lnTo>
                    <a:pt x="98" y="23"/>
                  </a:lnTo>
                  <a:lnTo>
                    <a:pt x="98" y="0"/>
                  </a:lnTo>
                  <a:lnTo>
                    <a:pt x="75" y="5"/>
                  </a:lnTo>
                  <a:lnTo>
                    <a:pt x="75" y="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2993CBB1-6405-E016-2D93-E35B77186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712" y="2206962"/>
              <a:ext cx="499892" cy="451982"/>
            </a:xfrm>
            <a:custGeom>
              <a:avLst/>
              <a:gdLst>
                <a:gd name="T0" fmla="*/ 206 w 553"/>
                <a:gd name="T1" fmla="*/ 11 h 500"/>
                <a:gd name="T2" fmla="*/ 175 w 553"/>
                <a:gd name="T3" fmla="*/ 42 h 500"/>
                <a:gd name="T4" fmla="*/ 136 w 553"/>
                <a:gd name="T5" fmla="*/ 60 h 500"/>
                <a:gd name="T6" fmla="*/ 116 w 553"/>
                <a:gd name="T7" fmla="*/ 88 h 500"/>
                <a:gd name="T8" fmla="*/ 77 w 553"/>
                <a:gd name="T9" fmla="*/ 106 h 500"/>
                <a:gd name="T10" fmla="*/ 72 w 553"/>
                <a:gd name="T11" fmla="*/ 114 h 500"/>
                <a:gd name="T12" fmla="*/ 69 w 553"/>
                <a:gd name="T13" fmla="*/ 147 h 500"/>
                <a:gd name="T14" fmla="*/ 36 w 553"/>
                <a:gd name="T15" fmla="*/ 170 h 500"/>
                <a:gd name="T16" fmla="*/ 15 w 553"/>
                <a:gd name="T17" fmla="*/ 199 h 500"/>
                <a:gd name="T18" fmla="*/ 33 w 553"/>
                <a:gd name="T19" fmla="*/ 237 h 500"/>
                <a:gd name="T20" fmla="*/ 36 w 553"/>
                <a:gd name="T21" fmla="*/ 271 h 500"/>
                <a:gd name="T22" fmla="*/ 62 w 553"/>
                <a:gd name="T23" fmla="*/ 304 h 500"/>
                <a:gd name="T24" fmla="*/ 90 w 553"/>
                <a:gd name="T25" fmla="*/ 338 h 500"/>
                <a:gd name="T26" fmla="*/ 51 w 553"/>
                <a:gd name="T27" fmla="*/ 356 h 500"/>
                <a:gd name="T28" fmla="*/ 13 w 553"/>
                <a:gd name="T29" fmla="*/ 348 h 500"/>
                <a:gd name="T30" fmla="*/ 0 w 553"/>
                <a:gd name="T31" fmla="*/ 389 h 500"/>
                <a:gd name="T32" fmla="*/ 31 w 553"/>
                <a:gd name="T33" fmla="*/ 410 h 500"/>
                <a:gd name="T34" fmla="*/ 82 w 553"/>
                <a:gd name="T35" fmla="*/ 423 h 500"/>
                <a:gd name="T36" fmla="*/ 105 w 553"/>
                <a:gd name="T37" fmla="*/ 448 h 500"/>
                <a:gd name="T38" fmla="*/ 128 w 553"/>
                <a:gd name="T39" fmla="*/ 474 h 500"/>
                <a:gd name="T40" fmla="*/ 157 w 553"/>
                <a:gd name="T41" fmla="*/ 487 h 500"/>
                <a:gd name="T42" fmla="*/ 203 w 553"/>
                <a:gd name="T43" fmla="*/ 484 h 500"/>
                <a:gd name="T44" fmla="*/ 242 w 553"/>
                <a:gd name="T45" fmla="*/ 466 h 500"/>
                <a:gd name="T46" fmla="*/ 275 w 553"/>
                <a:gd name="T47" fmla="*/ 487 h 500"/>
                <a:gd name="T48" fmla="*/ 314 w 553"/>
                <a:gd name="T49" fmla="*/ 495 h 500"/>
                <a:gd name="T50" fmla="*/ 355 w 553"/>
                <a:gd name="T51" fmla="*/ 487 h 500"/>
                <a:gd name="T52" fmla="*/ 381 w 553"/>
                <a:gd name="T53" fmla="*/ 464 h 500"/>
                <a:gd name="T54" fmla="*/ 409 w 553"/>
                <a:gd name="T55" fmla="*/ 423 h 500"/>
                <a:gd name="T56" fmla="*/ 461 w 553"/>
                <a:gd name="T57" fmla="*/ 436 h 500"/>
                <a:gd name="T58" fmla="*/ 499 w 553"/>
                <a:gd name="T59" fmla="*/ 446 h 500"/>
                <a:gd name="T60" fmla="*/ 515 w 553"/>
                <a:gd name="T61" fmla="*/ 402 h 500"/>
                <a:gd name="T62" fmla="*/ 538 w 553"/>
                <a:gd name="T63" fmla="*/ 353 h 500"/>
                <a:gd name="T64" fmla="*/ 548 w 553"/>
                <a:gd name="T65" fmla="*/ 330 h 500"/>
                <a:gd name="T66" fmla="*/ 543 w 553"/>
                <a:gd name="T67" fmla="*/ 315 h 500"/>
                <a:gd name="T68" fmla="*/ 515 w 553"/>
                <a:gd name="T69" fmla="*/ 281 h 500"/>
                <a:gd name="T70" fmla="*/ 466 w 553"/>
                <a:gd name="T71" fmla="*/ 253 h 500"/>
                <a:gd name="T72" fmla="*/ 417 w 553"/>
                <a:gd name="T73" fmla="*/ 219 h 500"/>
                <a:gd name="T74" fmla="*/ 358 w 553"/>
                <a:gd name="T75" fmla="*/ 165 h 500"/>
                <a:gd name="T76" fmla="*/ 304 w 553"/>
                <a:gd name="T77" fmla="*/ 127 h 500"/>
                <a:gd name="T78" fmla="*/ 275 w 553"/>
                <a:gd name="T79" fmla="*/ 88 h 500"/>
                <a:gd name="T80" fmla="*/ 255 w 553"/>
                <a:gd name="T81" fmla="*/ 42 h 500"/>
                <a:gd name="T82" fmla="*/ 231 w 553"/>
                <a:gd name="T83" fmla="*/ 16 h 500"/>
                <a:gd name="T84" fmla="*/ 226 w 553"/>
                <a:gd name="T85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3" h="500">
                  <a:moveTo>
                    <a:pt x="226" y="0"/>
                  </a:moveTo>
                  <a:lnTo>
                    <a:pt x="206" y="11"/>
                  </a:lnTo>
                  <a:lnTo>
                    <a:pt x="193" y="34"/>
                  </a:lnTo>
                  <a:lnTo>
                    <a:pt x="175" y="42"/>
                  </a:lnTo>
                  <a:lnTo>
                    <a:pt x="159" y="60"/>
                  </a:lnTo>
                  <a:lnTo>
                    <a:pt x="136" y="60"/>
                  </a:lnTo>
                  <a:lnTo>
                    <a:pt x="118" y="70"/>
                  </a:lnTo>
                  <a:lnTo>
                    <a:pt x="116" y="88"/>
                  </a:lnTo>
                  <a:lnTo>
                    <a:pt x="92" y="91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72" y="114"/>
                  </a:lnTo>
                  <a:lnTo>
                    <a:pt x="72" y="127"/>
                  </a:lnTo>
                  <a:lnTo>
                    <a:pt x="69" y="147"/>
                  </a:lnTo>
                  <a:lnTo>
                    <a:pt x="51" y="155"/>
                  </a:lnTo>
                  <a:lnTo>
                    <a:pt x="36" y="170"/>
                  </a:lnTo>
                  <a:lnTo>
                    <a:pt x="18" y="181"/>
                  </a:lnTo>
                  <a:lnTo>
                    <a:pt x="15" y="199"/>
                  </a:lnTo>
                  <a:lnTo>
                    <a:pt x="23" y="214"/>
                  </a:lnTo>
                  <a:lnTo>
                    <a:pt x="33" y="237"/>
                  </a:lnTo>
                  <a:lnTo>
                    <a:pt x="28" y="255"/>
                  </a:lnTo>
                  <a:lnTo>
                    <a:pt x="36" y="271"/>
                  </a:lnTo>
                  <a:lnTo>
                    <a:pt x="46" y="294"/>
                  </a:lnTo>
                  <a:lnTo>
                    <a:pt x="62" y="304"/>
                  </a:lnTo>
                  <a:lnTo>
                    <a:pt x="82" y="322"/>
                  </a:lnTo>
                  <a:lnTo>
                    <a:pt x="90" y="338"/>
                  </a:lnTo>
                  <a:lnTo>
                    <a:pt x="74" y="353"/>
                  </a:lnTo>
                  <a:lnTo>
                    <a:pt x="51" y="356"/>
                  </a:lnTo>
                  <a:lnTo>
                    <a:pt x="33" y="345"/>
                  </a:lnTo>
                  <a:lnTo>
                    <a:pt x="13" y="348"/>
                  </a:lnTo>
                  <a:lnTo>
                    <a:pt x="0" y="369"/>
                  </a:lnTo>
                  <a:lnTo>
                    <a:pt x="0" y="389"/>
                  </a:lnTo>
                  <a:lnTo>
                    <a:pt x="15" y="402"/>
                  </a:lnTo>
                  <a:lnTo>
                    <a:pt x="31" y="410"/>
                  </a:lnTo>
                  <a:lnTo>
                    <a:pt x="56" y="418"/>
                  </a:lnTo>
                  <a:lnTo>
                    <a:pt x="82" y="423"/>
                  </a:lnTo>
                  <a:lnTo>
                    <a:pt x="100" y="433"/>
                  </a:lnTo>
                  <a:lnTo>
                    <a:pt x="105" y="448"/>
                  </a:lnTo>
                  <a:lnTo>
                    <a:pt x="110" y="464"/>
                  </a:lnTo>
                  <a:lnTo>
                    <a:pt x="128" y="474"/>
                  </a:lnTo>
                  <a:lnTo>
                    <a:pt x="152" y="472"/>
                  </a:lnTo>
                  <a:lnTo>
                    <a:pt x="157" y="487"/>
                  </a:lnTo>
                  <a:lnTo>
                    <a:pt x="180" y="484"/>
                  </a:lnTo>
                  <a:lnTo>
                    <a:pt x="203" y="484"/>
                  </a:lnTo>
                  <a:lnTo>
                    <a:pt x="221" y="474"/>
                  </a:lnTo>
                  <a:lnTo>
                    <a:pt x="242" y="466"/>
                  </a:lnTo>
                  <a:lnTo>
                    <a:pt x="257" y="477"/>
                  </a:lnTo>
                  <a:lnTo>
                    <a:pt x="275" y="487"/>
                  </a:lnTo>
                  <a:lnTo>
                    <a:pt x="304" y="500"/>
                  </a:lnTo>
                  <a:lnTo>
                    <a:pt x="314" y="495"/>
                  </a:lnTo>
                  <a:lnTo>
                    <a:pt x="337" y="495"/>
                  </a:lnTo>
                  <a:lnTo>
                    <a:pt x="355" y="487"/>
                  </a:lnTo>
                  <a:lnTo>
                    <a:pt x="378" y="484"/>
                  </a:lnTo>
                  <a:lnTo>
                    <a:pt x="381" y="464"/>
                  </a:lnTo>
                  <a:lnTo>
                    <a:pt x="391" y="441"/>
                  </a:lnTo>
                  <a:lnTo>
                    <a:pt x="409" y="423"/>
                  </a:lnTo>
                  <a:lnTo>
                    <a:pt x="432" y="430"/>
                  </a:lnTo>
                  <a:lnTo>
                    <a:pt x="461" y="436"/>
                  </a:lnTo>
                  <a:lnTo>
                    <a:pt x="486" y="441"/>
                  </a:lnTo>
                  <a:lnTo>
                    <a:pt x="499" y="446"/>
                  </a:lnTo>
                  <a:lnTo>
                    <a:pt x="502" y="425"/>
                  </a:lnTo>
                  <a:lnTo>
                    <a:pt x="515" y="402"/>
                  </a:lnTo>
                  <a:lnTo>
                    <a:pt x="525" y="379"/>
                  </a:lnTo>
                  <a:lnTo>
                    <a:pt x="538" y="353"/>
                  </a:lnTo>
                  <a:lnTo>
                    <a:pt x="553" y="338"/>
                  </a:lnTo>
                  <a:lnTo>
                    <a:pt x="548" y="330"/>
                  </a:lnTo>
                  <a:lnTo>
                    <a:pt x="548" y="330"/>
                  </a:lnTo>
                  <a:lnTo>
                    <a:pt x="543" y="315"/>
                  </a:lnTo>
                  <a:lnTo>
                    <a:pt x="522" y="297"/>
                  </a:lnTo>
                  <a:lnTo>
                    <a:pt x="515" y="281"/>
                  </a:lnTo>
                  <a:lnTo>
                    <a:pt x="489" y="276"/>
                  </a:lnTo>
                  <a:lnTo>
                    <a:pt x="466" y="253"/>
                  </a:lnTo>
                  <a:lnTo>
                    <a:pt x="437" y="237"/>
                  </a:lnTo>
                  <a:lnTo>
                    <a:pt x="417" y="219"/>
                  </a:lnTo>
                  <a:lnTo>
                    <a:pt x="394" y="194"/>
                  </a:lnTo>
                  <a:lnTo>
                    <a:pt x="358" y="165"/>
                  </a:lnTo>
                  <a:lnTo>
                    <a:pt x="337" y="147"/>
                  </a:lnTo>
                  <a:lnTo>
                    <a:pt x="304" y="127"/>
                  </a:lnTo>
                  <a:lnTo>
                    <a:pt x="293" y="103"/>
                  </a:lnTo>
                  <a:lnTo>
                    <a:pt x="275" y="88"/>
                  </a:lnTo>
                  <a:lnTo>
                    <a:pt x="265" y="65"/>
                  </a:lnTo>
                  <a:lnTo>
                    <a:pt x="255" y="42"/>
                  </a:lnTo>
                  <a:lnTo>
                    <a:pt x="239" y="29"/>
                  </a:lnTo>
                  <a:lnTo>
                    <a:pt x="231" y="16"/>
                  </a:lnTo>
                  <a:lnTo>
                    <a:pt x="231" y="16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E69B2FBF-913D-D62E-CF89-8867BC615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3730" y="2291030"/>
              <a:ext cx="744866" cy="579441"/>
            </a:xfrm>
            <a:custGeom>
              <a:avLst/>
              <a:gdLst>
                <a:gd name="T0" fmla="*/ 72 w 824"/>
                <a:gd name="T1" fmla="*/ 250 h 641"/>
                <a:gd name="T2" fmla="*/ 116 w 824"/>
                <a:gd name="T3" fmla="*/ 301 h 641"/>
                <a:gd name="T4" fmla="*/ 165 w 824"/>
                <a:gd name="T5" fmla="*/ 345 h 641"/>
                <a:gd name="T6" fmla="*/ 219 w 824"/>
                <a:gd name="T7" fmla="*/ 366 h 641"/>
                <a:gd name="T8" fmla="*/ 258 w 824"/>
                <a:gd name="T9" fmla="*/ 402 h 641"/>
                <a:gd name="T10" fmla="*/ 278 w 824"/>
                <a:gd name="T11" fmla="*/ 446 h 641"/>
                <a:gd name="T12" fmla="*/ 335 w 824"/>
                <a:gd name="T13" fmla="*/ 492 h 641"/>
                <a:gd name="T14" fmla="*/ 374 w 824"/>
                <a:gd name="T15" fmla="*/ 528 h 641"/>
                <a:gd name="T16" fmla="*/ 438 w 824"/>
                <a:gd name="T17" fmla="*/ 569 h 641"/>
                <a:gd name="T18" fmla="*/ 505 w 824"/>
                <a:gd name="T19" fmla="*/ 585 h 641"/>
                <a:gd name="T20" fmla="*/ 544 w 824"/>
                <a:gd name="T21" fmla="*/ 621 h 641"/>
                <a:gd name="T22" fmla="*/ 590 w 824"/>
                <a:gd name="T23" fmla="*/ 623 h 641"/>
                <a:gd name="T24" fmla="*/ 657 w 824"/>
                <a:gd name="T25" fmla="*/ 613 h 641"/>
                <a:gd name="T26" fmla="*/ 716 w 824"/>
                <a:gd name="T27" fmla="*/ 618 h 641"/>
                <a:gd name="T28" fmla="*/ 775 w 824"/>
                <a:gd name="T29" fmla="*/ 621 h 641"/>
                <a:gd name="T30" fmla="*/ 793 w 824"/>
                <a:gd name="T31" fmla="*/ 610 h 641"/>
                <a:gd name="T32" fmla="*/ 814 w 824"/>
                <a:gd name="T33" fmla="*/ 556 h 641"/>
                <a:gd name="T34" fmla="*/ 804 w 824"/>
                <a:gd name="T35" fmla="*/ 507 h 641"/>
                <a:gd name="T36" fmla="*/ 824 w 824"/>
                <a:gd name="T37" fmla="*/ 497 h 641"/>
                <a:gd name="T38" fmla="*/ 816 w 824"/>
                <a:gd name="T39" fmla="*/ 456 h 641"/>
                <a:gd name="T40" fmla="*/ 804 w 824"/>
                <a:gd name="T41" fmla="*/ 407 h 641"/>
                <a:gd name="T42" fmla="*/ 757 w 824"/>
                <a:gd name="T43" fmla="*/ 384 h 641"/>
                <a:gd name="T44" fmla="*/ 703 w 824"/>
                <a:gd name="T45" fmla="*/ 391 h 641"/>
                <a:gd name="T46" fmla="*/ 652 w 824"/>
                <a:gd name="T47" fmla="*/ 379 h 641"/>
                <a:gd name="T48" fmla="*/ 605 w 824"/>
                <a:gd name="T49" fmla="*/ 355 h 641"/>
                <a:gd name="T50" fmla="*/ 556 w 824"/>
                <a:gd name="T51" fmla="*/ 325 h 641"/>
                <a:gd name="T52" fmla="*/ 500 w 824"/>
                <a:gd name="T53" fmla="*/ 296 h 641"/>
                <a:gd name="T54" fmla="*/ 533 w 824"/>
                <a:gd name="T55" fmla="*/ 252 h 641"/>
                <a:gd name="T56" fmla="*/ 590 w 824"/>
                <a:gd name="T57" fmla="*/ 245 h 641"/>
                <a:gd name="T58" fmla="*/ 546 w 824"/>
                <a:gd name="T59" fmla="*/ 201 h 641"/>
                <a:gd name="T60" fmla="*/ 533 w 824"/>
                <a:gd name="T61" fmla="*/ 144 h 641"/>
                <a:gd name="T62" fmla="*/ 518 w 824"/>
                <a:gd name="T63" fmla="*/ 88 h 641"/>
                <a:gd name="T64" fmla="*/ 569 w 824"/>
                <a:gd name="T65" fmla="*/ 54 h 641"/>
                <a:gd name="T66" fmla="*/ 577 w 824"/>
                <a:gd name="T67" fmla="*/ 13 h 641"/>
                <a:gd name="T68" fmla="*/ 546 w 824"/>
                <a:gd name="T69" fmla="*/ 0 h 641"/>
                <a:gd name="T70" fmla="*/ 515 w 824"/>
                <a:gd name="T71" fmla="*/ 26 h 641"/>
                <a:gd name="T72" fmla="*/ 464 w 824"/>
                <a:gd name="T73" fmla="*/ 65 h 641"/>
                <a:gd name="T74" fmla="*/ 410 w 824"/>
                <a:gd name="T75" fmla="*/ 101 h 641"/>
                <a:gd name="T76" fmla="*/ 363 w 824"/>
                <a:gd name="T77" fmla="*/ 149 h 641"/>
                <a:gd name="T78" fmla="*/ 296 w 824"/>
                <a:gd name="T79" fmla="*/ 155 h 641"/>
                <a:gd name="T80" fmla="*/ 258 w 824"/>
                <a:gd name="T81" fmla="*/ 119 h 641"/>
                <a:gd name="T82" fmla="*/ 214 w 824"/>
                <a:gd name="T83" fmla="*/ 75 h 641"/>
                <a:gd name="T84" fmla="*/ 157 w 824"/>
                <a:gd name="T85" fmla="*/ 75 h 641"/>
                <a:gd name="T86" fmla="*/ 144 w 824"/>
                <a:gd name="T87" fmla="*/ 26 h 641"/>
                <a:gd name="T88" fmla="*/ 116 w 824"/>
                <a:gd name="T89" fmla="*/ 13 h 641"/>
                <a:gd name="T90" fmla="*/ 106 w 824"/>
                <a:gd name="T91" fmla="*/ 44 h 641"/>
                <a:gd name="T92" fmla="*/ 80 w 824"/>
                <a:gd name="T93" fmla="*/ 113 h 641"/>
                <a:gd name="T94" fmla="*/ 54 w 824"/>
                <a:gd name="T95" fmla="*/ 160 h 641"/>
                <a:gd name="T96" fmla="*/ 13 w 824"/>
                <a:gd name="T97" fmla="*/ 196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4" h="641">
                  <a:moveTo>
                    <a:pt x="26" y="222"/>
                  </a:moveTo>
                  <a:lnTo>
                    <a:pt x="49" y="227"/>
                  </a:lnTo>
                  <a:lnTo>
                    <a:pt x="72" y="250"/>
                  </a:lnTo>
                  <a:lnTo>
                    <a:pt x="93" y="270"/>
                  </a:lnTo>
                  <a:lnTo>
                    <a:pt x="103" y="294"/>
                  </a:lnTo>
                  <a:lnTo>
                    <a:pt x="116" y="301"/>
                  </a:lnTo>
                  <a:lnTo>
                    <a:pt x="134" y="322"/>
                  </a:lnTo>
                  <a:lnTo>
                    <a:pt x="152" y="335"/>
                  </a:lnTo>
                  <a:lnTo>
                    <a:pt x="165" y="345"/>
                  </a:lnTo>
                  <a:lnTo>
                    <a:pt x="188" y="353"/>
                  </a:lnTo>
                  <a:lnTo>
                    <a:pt x="206" y="363"/>
                  </a:lnTo>
                  <a:lnTo>
                    <a:pt x="219" y="366"/>
                  </a:lnTo>
                  <a:lnTo>
                    <a:pt x="227" y="381"/>
                  </a:lnTo>
                  <a:lnTo>
                    <a:pt x="242" y="391"/>
                  </a:lnTo>
                  <a:lnTo>
                    <a:pt x="258" y="402"/>
                  </a:lnTo>
                  <a:lnTo>
                    <a:pt x="265" y="415"/>
                  </a:lnTo>
                  <a:lnTo>
                    <a:pt x="271" y="430"/>
                  </a:lnTo>
                  <a:lnTo>
                    <a:pt x="278" y="446"/>
                  </a:lnTo>
                  <a:lnTo>
                    <a:pt x="299" y="464"/>
                  </a:lnTo>
                  <a:lnTo>
                    <a:pt x="317" y="482"/>
                  </a:lnTo>
                  <a:lnTo>
                    <a:pt x="335" y="492"/>
                  </a:lnTo>
                  <a:lnTo>
                    <a:pt x="350" y="502"/>
                  </a:lnTo>
                  <a:lnTo>
                    <a:pt x="368" y="512"/>
                  </a:lnTo>
                  <a:lnTo>
                    <a:pt x="374" y="528"/>
                  </a:lnTo>
                  <a:lnTo>
                    <a:pt x="399" y="554"/>
                  </a:lnTo>
                  <a:lnTo>
                    <a:pt x="417" y="569"/>
                  </a:lnTo>
                  <a:lnTo>
                    <a:pt x="438" y="569"/>
                  </a:lnTo>
                  <a:lnTo>
                    <a:pt x="459" y="587"/>
                  </a:lnTo>
                  <a:lnTo>
                    <a:pt x="479" y="577"/>
                  </a:lnTo>
                  <a:lnTo>
                    <a:pt x="505" y="585"/>
                  </a:lnTo>
                  <a:lnTo>
                    <a:pt x="520" y="595"/>
                  </a:lnTo>
                  <a:lnTo>
                    <a:pt x="528" y="608"/>
                  </a:lnTo>
                  <a:lnTo>
                    <a:pt x="544" y="621"/>
                  </a:lnTo>
                  <a:lnTo>
                    <a:pt x="554" y="641"/>
                  </a:lnTo>
                  <a:lnTo>
                    <a:pt x="577" y="641"/>
                  </a:lnTo>
                  <a:lnTo>
                    <a:pt x="590" y="623"/>
                  </a:lnTo>
                  <a:lnTo>
                    <a:pt x="610" y="613"/>
                  </a:lnTo>
                  <a:lnTo>
                    <a:pt x="634" y="613"/>
                  </a:lnTo>
                  <a:lnTo>
                    <a:pt x="657" y="613"/>
                  </a:lnTo>
                  <a:lnTo>
                    <a:pt x="683" y="618"/>
                  </a:lnTo>
                  <a:lnTo>
                    <a:pt x="698" y="628"/>
                  </a:lnTo>
                  <a:lnTo>
                    <a:pt x="716" y="618"/>
                  </a:lnTo>
                  <a:lnTo>
                    <a:pt x="734" y="603"/>
                  </a:lnTo>
                  <a:lnTo>
                    <a:pt x="760" y="608"/>
                  </a:lnTo>
                  <a:lnTo>
                    <a:pt x="775" y="621"/>
                  </a:lnTo>
                  <a:lnTo>
                    <a:pt x="775" y="621"/>
                  </a:lnTo>
                  <a:lnTo>
                    <a:pt x="775" y="621"/>
                  </a:lnTo>
                  <a:lnTo>
                    <a:pt x="793" y="610"/>
                  </a:lnTo>
                  <a:lnTo>
                    <a:pt x="809" y="595"/>
                  </a:lnTo>
                  <a:lnTo>
                    <a:pt x="811" y="574"/>
                  </a:lnTo>
                  <a:lnTo>
                    <a:pt x="814" y="556"/>
                  </a:lnTo>
                  <a:lnTo>
                    <a:pt x="809" y="538"/>
                  </a:lnTo>
                  <a:lnTo>
                    <a:pt x="801" y="525"/>
                  </a:lnTo>
                  <a:lnTo>
                    <a:pt x="804" y="507"/>
                  </a:lnTo>
                  <a:lnTo>
                    <a:pt x="814" y="502"/>
                  </a:lnTo>
                  <a:lnTo>
                    <a:pt x="824" y="497"/>
                  </a:lnTo>
                  <a:lnTo>
                    <a:pt x="824" y="497"/>
                  </a:lnTo>
                  <a:lnTo>
                    <a:pt x="822" y="489"/>
                  </a:lnTo>
                  <a:lnTo>
                    <a:pt x="822" y="471"/>
                  </a:lnTo>
                  <a:lnTo>
                    <a:pt x="816" y="456"/>
                  </a:lnTo>
                  <a:lnTo>
                    <a:pt x="809" y="440"/>
                  </a:lnTo>
                  <a:lnTo>
                    <a:pt x="801" y="425"/>
                  </a:lnTo>
                  <a:lnTo>
                    <a:pt x="804" y="407"/>
                  </a:lnTo>
                  <a:lnTo>
                    <a:pt x="804" y="407"/>
                  </a:lnTo>
                  <a:lnTo>
                    <a:pt x="775" y="394"/>
                  </a:lnTo>
                  <a:lnTo>
                    <a:pt x="757" y="384"/>
                  </a:lnTo>
                  <a:lnTo>
                    <a:pt x="742" y="373"/>
                  </a:lnTo>
                  <a:lnTo>
                    <a:pt x="721" y="381"/>
                  </a:lnTo>
                  <a:lnTo>
                    <a:pt x="703" y="391"/>
                  </a:lnTo>
                  <a:lnTo>
                    <a:pt x="680" y="391"/>
                  </a:lnTo>
                  <a:lnTo>
                    <a:pt x="657" y="394"/>
                  </a:lnTo>
                  <a:lnTo>
                    <a:pt x="652" y="379"/>
                  </a:lnTo>
                  <a:lnTo>
                    <a:pt x="628" y="381"/>
                  </a:lnTo>
                  <a:lnTo>
                    <a:pt x="610" y="371"/>
                  </a:lnTo>
                  <a:lnTo>
                    <a:pt x="605" y="355"/>
                  </a:lnTo>
                  <a:lnTo>
                    <a:pt x="600" y="340"/>
                  </a:lnTo>
                  <a:lnTo>
                    <a:pt x="582" y="330"/>
                  </a:lnTo>
                  <a:lnTo>
                    <a:pt x="556" y="325"/>
                  </a:lnTo>
                  <a:lnTo>
                    <a:pt x="531" y="317"/>
                  </a:lnTo>
                  <a:lnTo>
                    <a:pt x="515" y="309"/>
                  </a:lnTo>
                  <a:lnTo>
                    <a:pt x="500" y="296"/>
                  </a:lnTo>
                  <a:lnTo>
                    <a:pt x="500" y="276"/>
                  </a:lnTo>
                  <a:lnTo>
                    <a:pt x="513" y="255"/>
                  </a:lnTo>
                  <a:lnTo>
                    <a:pt x="533" y="252"/>
                  </a:lnTo>
                  <a:lnTo>
                    <a:pt x="551" y="263"/>
                  </a:lnTo>
                  <a:lnTo>
                    <a:pt x="574" y="260"/>
                  </a:lnTo>
                  <a:lnTo>
                    <a:pt x="590" y="245"/>
                  </a:lnTo>
                  <a:lnTo>
                    <a:pt x="582" y="229"/>
                  </a:lnTo>
                  <a:lnTo>
                    <a:pt x="562" y="211"/>
                  </a:lnTo>
                  <a:lnTo>
                    <a:pt x="546" y="201"/>
                  </a:lnTo>
                  <a:lnTo>
                    <a:pt x="536" y="178"/>
                  </a:lnTo>
                  <a:lnTo>
                    <a:pt x="528" y="162"/>
                  </a:lnTo>
                  <a:lnTo>
                    <a:pt x="533" y="144"/>
                  </a:lnTo>
                  <a:lnTo>
                    <a:pt x="523" y="121"/>
                  </a:lnTo>
                  <a:lnTo>
                    <a:pt x="515" y="106"/>
                  </a:lnTo>
                  <a:lnTo>
                    <a:pt x="518" y="88"/>
                  </a:lnTo>
                  <a:lnTo>
                    <a:pt x="536" y="77"/>
                  </a:lnTo>
                  <a:lnTo>
                    <a:pt x="551" y="62"/>
                  </a:lnTo>
                  <a:lnTo>
                    <a:pt x="569" y="54"/>
                  </a:lnTo>
                  <a:lnTo>
                    <a:pt x="572" y="34"/>
                  </a:lnTo>
                  <a:lnTo>
                    <a:pt x="572" y="21"/>
                  </a:lnTo>
                  <a:lnTo>
                    <a:pt x="577" y="13"/>
                  </a:lnTo>
                  <a:lnTo>
                    <a:pt x="577" y="13"/>
                  </a:lnTo>
                  <a:lnTo>
                    <a:pt x="562" y="10"/>
                  </a:lnTo>
                  <a:lnTo>
                    <a:pt x="546" y="0"/>
                  </a:lnTo>
                  <a:lnTo>
                    <a:pt x="525" y="0"/>
                  </a:lnTo>
                  <a:lnTo>
                    <a:pt x="525" y="0"/>
                  </a:lnTo>
                  <a:lnTo>
                    <a:pt x="515" y="26"/>
                  </a:lnTo>
                  <a:lnTo>
                    <a:pt x="500" y="49"/>
                  </a:lnTo>
                  <a:lnTo>
                    <a:pt x="479" y="49"/>
                  </a:lnTo>
                  <a:lnTo>
                    <a:pt x="464" y="65"/>
                  </a:lnTo>
                  <a:lnTo>
                    <a:pt x="441" y="67"/>
                  </a:lnTo>
                  <a:lnTo>
                    <a:pt x="425" y="85"/>
                  </a:lnTo>
                  <a:lnTo>
                    <a:pt x="410" y="101"/>
                  </a:lnTo>
                  <a:lnTo>
                    <a:pt x="394" y="116"/>
                  </a:lnTo>
                  <a:lnTo>
                    <a:pt x="379" y="134"/>
                  </a:lnTo>
                  <a:lnTo>
                    <a:pt x="363" y="149"/>
                  </a:lnTo>
                  <a:lnTo>
                    <a:pt x="345" y="160"/>
                  </a:lnTo>
                  <a:lnTo>
                    <a:pt x="312" y="165"/>
                  </a:lnTo>
                  <a:lnTo>
                    <a:pt x="296" y="155"/>
                  </a:lnTo>
                  <a:lnTo>
                    <a:pt x="289" y="139"/>
                  </a:lnTo>
                  <a:lnTo>
                    <a:pt x="263" y="134"/>
                  </a:lnTo>
                  <a:lnTo>
                    <a:pt x="258" y="119"/>
                  </a:lnTo>
                  <a:lnTo>
                    <a:pt x="250" y="103"/>
                  </a:lnTo>
                  <a:lnTo>
                    <a:pt x="235" y="93"/>
                  </a:lnTo>
                  <a:lnTo>
                    <a:pt x="214" y="75"/>
                  </a:lnTo>
                  <a:lnTo>
                    <a:pt x="198" y="65"/>
                  </a:lnTo>
                  <a:lnTo>
                    <a:pt x="178" y="72"/>
                  </a:lnTo>
                  <a:lnTo>
                    <a:pt x="157" y="75"/>
                  </a:lnTo>
                  <a:lnTo>
                    <a:pt x="150" y="59"/>
                  </a:lnTo>
                  <a:lnTo>
                    <a:pt x="142" y="44"/>
                  </a:lnTo>
                  <a:lnTo>
                    <a:pt x="144" y="26"/>
                  </a:lnTo>
                  <a:lnTo>
                    <a:pt x="137" y="10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08" y="26"/>
                  </a:lnTo>
                  <a:lnTo>
                    <a:pt x="106" y="44"/>
                  </a:lnTo>
                  <a:lnTo>
                    <a:pt x="103" y="65"/>
                  </a:lnTo>
                  <a:lnTo>
                    <a:pt x="90" y="90"/>
                  </a:lnTo>
                  <a:lnTo>
                    <a:pt x="80" y="113"/>
                  </a:lnTo>
                  <a:lnTo>
                    <a:pt x="65" y="129"/>
                  </a:lnTo>
                  <a:lnTo>
                    <a:pt x="49" y="144"/>
                  </a:lnTo>
                  <a:lnTo>
                    <a:pt x="54" y="160"/>
                  </a:lnTo>
                  <a:lnTo>
                    <a:pt x="54" y="180"/>
                  </a:lnTo>
                  <a:lnTo>
                    <a:pt x="36" y="196"/>
                  </a:lnTo>
                  <a:lnTo>
                    <a:pt x="13" y="196"/>
                  </a:lnTo>
                  <a:lnTo>
                    <a:pt x="0" y="214"/>
                  </a:lnTo>
                  <a:lnTo>
                    <a:pt x="26" y="222"/>
                  </a:lnTo>
                  <a:close/>
                </a:path>
              </a:pathLst>
            </a:custGeom>
            <a:solidFill>
              <a:srgbClr val="92D05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1F184D7A-298E-2FCD-E10B-C02DC7C07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5030" y="839265"/>
              <a:ext cx="350738" cy="346218"/>
            </a:xfrm>
            <a:custGeom>
              <a:avLst/>
              <a:gdLst>
                <a:gd name="T0" fmla="*/ 314 w 388"/>
                <a:gd name="T1" fmla="*/ 10 h 383"/>
                <a:gd name="T2" fmla="*/ 267 w 388"/>
                <a:gd name="T3" fmla="*/ 15 h 383"/>
                <a:gd name="T4" fmla="*/ 226 w 388"/>
                <a:gd name="T5" fmla="*/ 0 h 383"/>
                <a:gd name="T6" fmla="*/ 185 w 388"/>
                <a:gd name="T7" fmla="*/ 7 h 383"/>
                <a:gd name="T8" fmla="*/ 141 w 388"/>
                <a:gd name="T9" fmla="*/ 10 h 383"/>
                <a:gd name="T10" fmla="*/ 116 w 388"/>
                <a:gd name="T11" fmla="*/ 33 h 383"/>
                <a:gd name="T12" fmla="*/ 85 w 388"/>
                <a:gd name="T13" fmla="*/ 64 h 383"/>
                <a:gd name="T14" fmla="*/ 46 w 388"/>
                <a:gd name="T15" fmla="*/ 82 h 383"/>
                <a:gd name="T16" fmla="*/ 33 w 388"/>
                <a:gd name="T17" fmla="*/ 128 h 383"/>
                <a:gd name="T18" fmla="*/ 0 w 388"/>
                <a:gd name="T19" fmla="*/ 159 h 383"/>
                <a:gd name="T20" fmla="*/ 36 w 388"/>
                <a:gd name="T21" fmla="*/ 188 h 383"/>
                <a:gd name="T22" fmla="*/ 54 w 388"/>
                <a:gd name="T23" fmla="*/ 226 h 383"/>
                <a:gd name="T24" fmla="*/ 31 w 388"/>
                <a:gd name="T25" fmla="*/ 273 h 383"/>
                <a:gd name="T26" fmla="*/ 56 w 388"/>
                <a:gd name="T27" fmla="*/ 306 h 383"/>
                <a:gd name="T28" fmla="*/ 74 w 388"/>
                <a:gd name="T29" fmla="*/ 342 h 383"/>
                <a:gd name="T30" fmla="*/ 131 w 388"/>
                <a:gd name="T31" fmla="*/ 342 h 383"/>
                <a:gd name="T32" fmla="*/ 177 w 388"/>
                <a:gd name="T33" fmla="*/ 321 h 383"/>
                <a:gd name="T34" fmla="*/ 218 w 388"/>
                <a:gd name="T35" fmla="*/ 358 h 383"/>
                <a:gd name="T36" fmla="*/ 242 w 388"/>
                <a:gd name="T37" fmla="*/ 383 h 383"/>
                <a:gd name="T38" fmla="*/ 273 w 388"/>
                <a:gd name="T39" fmla="*/ 350 h 383"/>
                <a:gd name="T40" fmla="*/ 311 w 388"/>
                <a:gd name="T41" fmla="*/ 360 h 383"/>
                <a:gd name="T42" fmla="*/ 352 w 388"/>
                <a:gd name="T43" fmla="*/ 347 h 383"/>
                <a:gd name="T44" fmla="*/ 383 w 388"/>
                <a:gd name="T45" fmla="*/ 316 h 383"/>
                <a:gd name="T46" fmla="*/ 388 w 388"/>
                <a:gd name="T47" fmla="*/ 275 h 383"/>
                <a:gd name="T48" fmla="*/ 350 w 388"/>
                <a:gd name="T49" fmla="*/ 267 h 383"/>
                <a:gd name="T50" fmla="*/ 334 w 388"/>
                <a:gd name="T51" fmla="*/ 237 h 383"/>
                <a:gd name="T52" fmla="*/ 363 w 388"/>
                <a:gd name="T53" fmla="*/ 198 h 383"/>
                <a:gd name="T54" fmla="*/ 360 w 388"/>
                <a:gd name="T55" fmla="*/ 164 h 383"/>
                <a:gd name="T56" fmla="*/ 329 w 388"/>
                <a:gd name="T57" fmla="*/ 149 h 383"/>
                <a:gd name="T58" fmla="*/ 298 w 388"/>
                <a:gd name="T59" fmla="*/ 128 h 383"/>
                <a:gd name="T60" fmla="*/ 316 w 388"/>
                <a:gd name="T61" fmla="*/ 92 h 383"/>
                <a:gd name="T62" fmla="*/ 350 w 388"/>
                <a:gd name="T63" fmla="*/ 67 h 383"/>
                <a:gd name="T64" fmla="*/ 355 w 388"/>
                <a:gd name="T65" fmla="*/ 31 h 383"/>
                <a:gd name="T66" fmla="*/ 345 w 388"/>
                <a:gd name="T67" fmla="*/ 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8" h="383">
                  <a:moveTo>
                    <a:pt x="345" y="7"/>
                  </a:moveTo>
                  <a:lnTo>
                    <a:pt x="314" y="10"/>
                  </a:lnTo>
                  <a:lnTo>
                    <a:pt x="288" y="7"/>
                  </a:lnTo>
                  <a:lnTo>
                    <a:pt x="267" y="15"/>
                  </a:lnTo>
                  <a:lnTo>
                    <a:pt x="247" y="18"/>
                  </a:lnTo>
                  <a:lnTo>
                    <a:pt x="226" y="0"/>
                  </a:lnTo>
                  <a:lnTo>
                    <a:pt x="203" y="0"/>
                  </a:lnTo>
                  <a:lnTo>
                    <a:pt x="185" y="7"/>
                  </a:lnTo>
                  <a:lnTo>
                    <a:pt x="159" y="2"/>
                  </a:lnTo>
                  <a:lnTo>
                    <a:pt x="141" y="10"/>
                  </a:lnTo>
                  <a:lnTo>
                    <a:pt x="118" y="13"/>
                  </a:lnTo>
                  <a:lnTo>
                    <a:pt x="116" y="33"/>
                  </a:lnTo>
                  <a:lnTo>
                    <a:pt x="95" y="41"/>
                  </a:lnTo>
                  <a:lnTo>
                    <a:pt x="85" y="64"/>
                  </a:lnTo>
                  <a:lnTo>
                    <a:pt x="69" y="82"/>
                  </a:lnTo>
                  <a:lnTo>
                    <a:pt x="46" y="82"/>
                  </a:lnTo>
                  <a:lnTo>
                    <a:pt x="36" y="108"/>
                  </a:lnTo>
                  <a:lnTo>
                    <a:pt x="33" y="128"/>
                  </a:lnTo>
                  <a:lnTo>
                    <a:pt x="13" y="136"/>
                  </a:lnTo>
                  <a:lnTo>
                    <a:pt x="0" y="159"/>
                  </a:lnTo>
                  <a:lnTo>
                    <a:pt x="20" y="177"/>
                  </a:lnTo>
                  <a:lnTo>
                    <a:pt x="36" y="188"/>
                  </a:lnTo>
                  <a:lnTo>
                    <a:pt x="46" y="211"/>
                  </a:lnTo>
                  <a:lnTo>
                    <a:pt x="54" y="226"/>
                  </a:lnTo>
                  <a:lnTo>
                    <a:pt x="43" y="249"/>
                  </a:lnTo>
                  <a:lnTo>
                    <a:pt x="31" y="273"/>
                  </a:lnTo>
                  <a:lnTo>
                    <a:pt x="51" y="293"/>
                  </a:lnTo>
                  <a:lnTo>
                    <a:pt x="56" y="306"/>
                  </a:lnTo>
                  <a:lnTo>
                    <a:pt x="69" y="329"/>
                  </a:lnTo>
                  <a:lnTo>
                    <a:pt x="74" y="342"/>
                  </a:lnTo>
                  <a:lnTo>
                    <a:pt x="100" y="352"/>
                  </a:lnTo>
                  <a:lnTo>
                    <a:pt x="131" y="342"/>
                  </a:lnTo>
                  <a:lnTo>
                    <a:pt x="146" y="329"/>
                  </a:lnTo>
                  <a:lnTo>
                    <a:pt x="177" y="321"/>
                  </a:lnTo>
                  <a:lnTo>
                    <a:pt x="195" y="332"/>
                  </a:lnTo>
                  <a:lnTo>
                    <a:pt x="218" y="358"/>
                  </a:lnTo>
                  <a:lnTo>
                    <a:pt x="237" y="368"/>
                  </a:lnTo>
                  <a:lnTo>
                    <a:pt x="242" y="383"/>
                  </a:lnTo>
                  <a:lnTo>
                    <a:pt x="252" y="360"/>
                  </a:lnTo>
                  <a:lnTo>
                    <a:pt x="273" y="350"/>
                  </a:lnTo>
                  <a:lnTo>
                    <a:pt x="296" y="350"/>
                  </a:lnTo>
                  <a:lnTo>
                    <a:pt x="311" y="360"/>
                  </a:lnTo>
                  <a:lnTo>
                    <a:pt x="329" y="352"/>
                  </a:lnTo>
                  <a:lnTo>
                    <a:pt x="352" y="347"/>
                  </a:lnTo>
                  <a:lnTo>
                    <a:pt x="368" y="332"/>
                  </a:lnTo>
                  <a:lnTo>
                    <a:pt x="383" y="316"/>
                  </a:lnTo>
                  <a:lnTo>
                    <a:pt x="386" y="298"/>
                  </a:lnTo>
                  <a:lnTo>
                    <a:pt x="388" y="275"/>
                  </a:lnTo>
                  <a:lnTo>
                    <a:pt x="373" y="265"/>
                  </a:lnTo>
                  <a:lnTo>
                    <a:pt x="350" y="267"/>
                  </a:lnTo>
                  <a:lnTo>
                    <a:pt x="342" y="252"/>
                  </a:lnTo>
                  <a:lnTo>
                    <a:pt x="334" y="237"/>
                  </a:lnTo>
                  <a:lnTo>
                    <a:pt x="352" y="221"/>
                  </a:lnTo>
                  <a:lnTo>
                    <a:pt x="363" y="198"/>
                  </a:lnTo>
                  <a:lnTo>
                    <a:pt x="368" y="177"/>
                  </a:lnTo>
                  <a:lnTo>
                    <a:pt x="360" y="164"/>
                  </a:lnTo>
                  <a:lnTo>
                    <a:pt x="352" y="146"/>
                  </a:lnTo>
                  <a:lnTo>
                    <a:pt x="329" y="149"/>
                  </a:lnTo>
                  <a:lnTo>
                    <a:pt x="314" y="139"/>
                  </a:lnTo>
                  <a:lnTo>
                    <a:pt x="298" y="128"/>
                  </a:lnTo>
                  <a:lnTo>
                    <a:pt x="301" y="110"/>
                  </a:lnTo>
                  <a:lnTo>
                    <a:pt x="316" y="92"/>
                  </a:lnTo>
                  <a:lnTo>
                    <a:pt x="334" y="85"/>
                  </a:lnTo>
                  <a:lnTo>
                    <a:pt x="350" y="67"/>
                  </a:lnTo>
                  <a:lnTo>
                    <a:pt x="363" y="43"/>
                  </a:lnTo>
                  <a:lnTo>
                    <a:pt x="355" y="31"/>
                  </a:lnTo>
                  <a:lnTo>
                    <a:pt x="352" y="20"/>
                  </a:lnTo>
                  <a:lnTo>
                    <a:pt x="345" y="7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C06C4B75-FAC0-683B-62D8-A9F1626F5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3443" y="694631"/>
              <a:ext cx="527915" cy="563169"/>
            </a:xfrm>
            <a:custGeom>
              <a:avLst/>
              <a:gdLst>
                <a:gd name="T0" fmla="*/ 579 w 584"/>
                <a:gd name="T1" fmla="*/ 173 h 623"/>
                <a:gd name="T2" fmla="*/ 543 w 584"/>
                <a:gd name="T3" fmla="*/ 193 h 623"/>
                <a:gd name="T4" fmla="*/ 507 w 584"/>
                <a:gd name="T5" fmla="*/ 191 h 623"/>
                <a:gd name="T6" fmla="*/ 474 w 584"/>
                <a:gd name="T7" fmla="*/ 196 h 623"/>
                <a:gd name="T8" fmla="*/ 453 w 584"/>
                <a:gd name="T9" fmla="*/ 224 h 623"/>
                <a:gd name="T10" fmla="*/ 414 w 584"/>
                <a:gd name="T11" fmla="*/ 242 h 623"/>
                <a:gd name="T12" fmla="*/ 438 w 584"/>
                <a:gd name="T13" fmla="*/ 268 h 623"/>
                <a:gd name="T14" fmla="*/ 438 w 584"/>
                <a:gd name="T15" fmla="*/ 314 h 623"/>
                <a:gd name="T16" fmla="*/ 438 w 584"/>
                <a:gd name="T17" fmla="*/ 340 h 623"/>
                <a:gd name="T18" fmla="*/ 471 w 584"/>
                <a:gd name="T19" fmla="*/ 363 h 623"/>
                <a:gd name="T20" fmla="*/ 453 w 584"/>
                <a:gd name="T21" fmla="*/ 397 h 623"/>
                <a:gd name="T22" fmla="*/ 417 w 584"/>
                <a:gd name="T23" fmla="*/ 422 h 623"/>
                <a:gd name="T24" fmla="*/ 409 w 584"/>
                <a:gd name="T25" fmla="*/ 453 h 623"/>
                <a:gd name="T26" fmla="*/ 404 w 584"/>
                <a:gd name="T27" fmla="*/ 494 h 623"/>
                <a:gd name="T28" fmla="*/ 360 w 584"/>
                <a:gd name="T29" fmla="*/ 497 h 623"/>
                <a:gd name="T30" fmla="*/ 345 w 584"/>
                <a:gd name="T31" fmla="*/ 466 h 623"/>
                <a:gd name="T32" fmla="*/ 317 w 584"/>
                <a:gd name="T33" fmla="*/ 507 h 623"/>
                <a:gd name="T34" fmla="*/ 283 w 584"/>
                <a:gd name="T35" fmla="*/ 533 h 623"/>
                <a:gd name="T36" fmla="*/ 268 w 584"/>
                <a:gd name="T37" fmla="*/ 577 h 623"/>
                <a:gd name="T38" fmla="*/ 244 w 584"/>
                <a:gd name="T39" fmla="*/ 605 h 623"/>
                <a:gd name="T40" fmla="*/ 208 w 584"/>
                <a:gd name="T41" fmla="*/ 623 h 623"/>
                <a:gd name="T42" fmla="*/ 165 w 584"/>
                <a:gd name="T43" fmla="*/ 605 h 623"/>
                <a:gd name="T44" fmla="*/ 172 w 584"/>
                <a:gd name="T45" fmla="*/ 595 h 623"/>
                <a:gd name="T46" fmla="*/ 157 w 584"/>
                <a:gd name="T47" fmla="*/ 561 h 623"/>
                <a:gd name="T48" fmla="*/ 113 w 584"/>
                <a:gd name="T49" fmla="*/ 566 h 623"/>
                <a:gd name="T50" fmla="*/ 69 w 584"/>
                <a:gd name="T51" fmla="*/ 577 h 623"/>
                <a:gd name="T52" fmla="*/ 57 w 584"/>
                <a:gd name="T53" fmla="*/ 548 h 623"/>
                <a:gd name="T54" fmla="*/ 54 w 584"/>
                <a:gd name="T55" fmla="*/ 512 h 623"/>
                <a:gd name="T56" fmla="*/ 49 w 584"/>
                <a:gd name="T57" fmla="*/ 479 h 623"/>
                <a:gd name="T58" fmla="*/ 82 w 584"/>
                <a:gd name="T59" fmla="*/ 453 h 623"/>
                <a:gd name="T60" fmla="*/ 69 w 584"/>
                <a:gd name="T61" fmla="*/ 422 h 623"/>
                <a:gd name="T62" fmla="*/ 80 w 584"/>
                <a:gd name="T63" fmla="*/ 391 h 623"/>
                <a:gd name="T64" fmla="*/ 54 w 584"/>
                <a:gd name="T65" fmla="*/ 366 h 623"/>
                <a:gd name="T66" fmla="*/ 75 w 584"/>
                <a:gd name="T67" fmla="*/ 330 h 623"/>
                <a:gd name="T68" fmla="*/ 80 w 584"/>
                <a:gd name="T69" fmla="*/ 291 h 623"/>
                <a:gd name="T70" fmla="*/ 39 w 584"/>
                <a:gd name="T71" fmla="*/ 283 h 623"/>
                <a:gd name="T72" fmla="*/ 18 w 584"/>
                <a:gd name="T73" fmla="*/ 257 h 623"/>
                <a:gd name="T74" fmla="*/ 10 w 584"/>
                <a:gd name="T75" fmla="*/ 242 h 623"/>
                <a:gd name="T76" fmla="*/ 15 w 584"/>
                <a:gd name="T77" fmla="*/ 229 h 623"/>
                <a:gd name="T78" fmla="*/ 10 w 584"/>
                <a:gd name="T79" fmla="*/ 196 h 623"/>
                <a:gd name="T80" fmla="*/ 69 w 584"/>
                <a:gd name="T81" fmla="*/ 196 h 623"/>
                <a:gd name="T82" fmla="*/ 111 w 584"/>
                <a:gd name="T83" fmla="*/ 185 h 623"/>
                <a:gd name="T84" fmla="*/ 141 w 584"/>
                <a:gd name="T85" fmla="*/ 152 h 623"/>
                <a:gd name="T86" fmla="*/ 180 w 584"/>
                <a:gd name="T87" fmla="*/ 134 h 623"/>
                <a:gd name="T88" fmla="*/ 206 w 584"/>
                <a:gd name="T89" fmla="*/ 113 h 623"/>
                <a:gd name="T90" fmla="*/ 239 w 584"/>
                <a:gd name="T91" fmla="*/ 88 h 623"/>
                <a:gd name="T92" fmla="*/ 288 w 584"/>
                <a:gd name="T93" fmla="*/ 67 h 623"/>
                <a:gd name="T94" fmla="*/ 327 w 584"/>
                <a:gd name="T95" fmla="*/ 49 h 623"/>
                <a:gd name="T96" fmla="*/ 368 w 584"/>
                <a:gd name="T97" fmla="*/ 39 h 623"/>
                <a:gd name="T98" fmla="*/ 358 w 584"/>
                <a:gd name="T99" fmla="*/ 70 h 623"/>
                <a:gd name="T100" fmla="*/ 396 w 584"/>
                <a:gd name="T101" fmla="*/ 52 h 623"/>
                <a:gd name="T102" fmla="*/ 427 w 584"/>
                <a:gd name="T103" fmla="*/ 18 h 623"/>
                <a:gd name="T104" fmla="*/ 463 w 584"/>
                <a:gd name="T105" fmla="*/ 0 h 623"/>
                <a:gd name="T106" fmla="*/ 448 w 584"/>
                <a:gd name="T107" fmla="*/ 36 h 623"/>
                <a:gd name="T108" fmla="*/ 430 w 584"/>
                <a:gd name="T109" fmla="*/ 72 h 623"/>
                <a:gd name="T110" fmla="*/ 479 w 584"/>
                <a:gd name="T111" fmla="*/ 77 h 623"/>
                <a:gd name="T112" fmla="*/ 515 w 584"/>
                <a:gd name="T113" fmla="*/ 85 h 623"/>
                <a:gd name="T114" fmla="*/ 530 w 584"/>
                <a:gd name="T115" fmla="*/ 116 h 623"/>
                <a:gd name="T116" fmla="*/ 559 w 584"/>
                <a:gd name="T117" fmla="*/ 129 h 623"/>
                <a:gd name="T118" fmla="*/ 582 w 584"/>
                <a:gd name="T119" fmla="*/ 154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4" h="623">
                  <a:moveTo>
                    <a:pt x="584" y="160"/>
                  </a:moveTo>
                  <a:lnTo>
                    <a:pt x="579" y="173"/>
                  </a:lnTo>
                  <a:lnTo>
                    <a:pt x="561" y="183"/>
                  </a:lnTo>
                  <a:lnTo>
                    <a:pt x="543" y="193"/>
                  </a:lnTo>
                  <a:lnTo>
                    <a:pt x="523" y="201"/>
                  </a:lnTo>
                  <a:lnTo>
                    <a:pt x="507" y="191"/>
                  </a:lnTo>
                  <a:lnTo>
                    <a:pt x="489" y="180"/>
                  </a:lnTo>
                  <a:lnTo>
                    <a:pt x="474" y="196"/>
                  </a:lnTo>
                  <a:lnTo>
                    <a:pt x="471" y="214"/>
                  </a:lnTo>
                  <a:lnTo>
                    <a:pt x="453" y="224"/>
                  </a:lnTo>
                  <a:lnTo>
                    <a:pt x="432" y="234"/>
                  </a:lnTo>
                  <a:lnTo>
                    <a:pt x="414" y="242"/>
                  </a:lnTo>
                  <a:lnTo>
                    <a:pt x="422" y="257"/>
                  </a:lnTo>
                  <a:lnTo>
                    <a:pt x="438" y="268"/>
                  </a:lnTo>
                  <a:lnTo>
                    <a:pt x="438" y="294"/>
                  </a:lnTo>
                  <a:lnTo>
                    <a:pt x="438" y="314"/>
                  </a:lnTo>
                  <a:lnTo>
                    <a:pt x="420" y="330"/>
                  </a:lnTo>
                  <a:lnTo>
                    <a:pt x="438" y="340"/>
                  </a:lnTo>
                  <a:lnTo>
                    <a:pt x="453" y="350"/>
                  </a:lnTo>
                  <a:lnTo>
                    <a:pt x="471" y="363"/>
                  </a:lnTo>
                  <a:lnTo>
                    <a:pt x="466" y="381"/>
                  </a:lnTo>
                  <a:lnTo>
                    <a:pt x="453" y="397"/>
                  </a:lnTo>
                  <a:lnTo>
                    <a:pt x="435" y="415"/>
                  </a:lnTo>
                  <a:lnTo>
                    <a:pt x="417" y="422"/>
                  </a:lnTo>
                  <a:lnTo>
                    <a:pt x="402" y="440"/>
                  </a:lnTo>
                  <a:lnTo>
                    <a:pt x="409" y="453"/>
                  </a:lnTo>
                  <a:lnTo>
                    <a:pt x="407" y="476"/>
                  </a:lnTo>
                  <a:lnTo>
                    <a:pt x="404" y="494"/>
                  </a:lnTo>
                  <a:lnTo>
                    <a:pt x="384" y="502"/>
                  </a:lnTo>
                  <a:lnTo>
                    <a:pt x="360" y="497"/>
                  </a:lnTo>
                  <a:lnTo>
                    <a:pt x="353" y="481"/>
                  </a:lnTo>
                  <a:lnTo>
                    <a:pt x="345" y="466"/>
                  </a:lnTo>
                  <a:lnTo>
                    <a:pt x="329" y="484"/>
                  </a:lnTo>
                  <a:lnTo>
                    <a:pt x="317" y="507"/>
                  </a:lnTo>
                  <a:lnTo>
                    <a:pt x="304" y="530"/>
                  </a:lnTo>
                  <a:lnTo>
                    <a:pt x="283" y="533"/>
                  </a:lnTo>
                  <a:lnTo>
                    <a:pt x="270" y="556"/>
                  </a:lnTo>
                  <a:lnTo>
                    <a:pt x="268" y="577"/>
                  </a:lnTo>
                  <a:lnTo>
                    <a:pt x="265" y="595"/>
                  </a:lnTo>
                  <a:lnTo>
                    <a:pt x="244" y="605"/>
                  </a:lnTo>
                  <a:lnTo>
                    <a:pt x="226" y="613"/>
                  </a:lnTo>
                  <a:lnTo>
                    <a:pt x="208" y="623"/>
                  </a:lnTo>
                  <a:lnTo>
                    <a:pt x="183" y="615"/>
                  </a:lnTo>
                  <a:lnTo>
                    <a:pt x="165" y="605"/>
                  </a:lnTo>
                  <a:lnTo>
                    <a:pt x="165" y="605"/>
                  </a:lnTo>
                  <a:lnTo>
                    <a:pt x="172" y="595"/>
                  </a:lnTo>
                  <a:lnTo>
                    <a:pt x="175" y="574"/>
                  </a:lnTo>
                  <a:lnTo>
                    <a:pt x="157" y="561"/>
                  </a:lnTo>
                  <a:lnTo>
                    <a:pt x="136" y="564"/>
                  </a:lnTo>
                  <a:lnTo>
                    <a:pt x="113" y="566"/>
                  </a:lnTo>
                  <a:lnTo>
                    <a:pt x="90" y="569"/>
                  </a:lnTo>
                  <a:lnTo>
                    <a:pt x="69" y="577"/>
                  </a:lnTo>
                  <a:lnTo>
                    <a:pt x="54" y="566"/>
                  </a:lnTo>
                  <a:lnTo>
                    <a:pt x="57" y="548"/>
                  </a:lnTo>
                  <a:lnTo>
                    <a:pt x="51" y="533"/>
                  </a:lnTo>
                  <a:lnTo>
                    <a:pt x="54" y="512"/>
                  </a:lnTo>
                  <a:lnTo>
                    <a:pt x="46" y="499"/>
                  </a:lnTo>
                  <a:lnTo>
                    <a:pt x="49" y="479"/>
                  </a:lnTo>
                  <a:lnTo>
                    <a:pt x="69" y="469"/>
                  </a:lnTo>
                  <a:lnTo>
                    <a:pt x="82" y="453"/>
                  </a:lnTo>
                  <a:lnTo>
                    <a:pt x="77" y="440"/>
                  </a:lnTo>
                  <a:lnTo>
                    <a:pt x="69" y="422"/>
                  </a:lnTo>
                  <a:lnTo>
                    <a:pt x="85" y="407"/>
                  </a:lnTo>
                  <a:lnTo>
                    <a:pt x="80" y="391"/>
                  </a:lnTo>
                  <a:lnTo>
                    <a:pt x="62" y="381"/>
                  </a:lnTo>
                  <a:lnTo>
                    <a:pt x="54" y="366"/>
                  </a:lnTo>
                  <a:lnTo>
                    <a:pt x="59" y="348"/>
                  </a:lnTo>
                  <a:lnTo>
                    <a:pt x="75" y="330"/>
                  </a:lnTo>
                  <a:lnTo>
                    <a:pt x="85" y="306"/>
                  </a:lnTo>
                  <a:lnTo>
                    <a:pt x="80" y="291"/>
                  </a:lnTo>
                  <a:lnTo>
                    <a:pt x="62" y="281"/>
                  </a:lnTo>
                  <a:lnTo>
                    <a:pt x="39" y="283"/>
                  </a:lnTo>
                  <a:lnTo>
                    <a:pt x="33" y="268"/>
                  </a:lnTo>
                  <a:lnTo>
                    <a:pt x="18" y="257"/>
                  </a:lnTo>
                  <a:lnTo>
                    <a:pt x="10" y="242"/>
                  </a:lnTo>
                  <a:lnTo>
                    <a:pt x="10" y="242"/>
                  </a:lnTo>
                  <a:lnTo>
                    <a:pt x="20" y="237"/>
                  </a:lnTo>
                  <a:lnTo>
                    <a:pt x="15" y="229"/>
                  </a:lnTo>
                  <a:lnTo>
                    <a:pt x="0" y="221"/>
                  </a:lnTo>
                  <a:lnTo>
                    <a:pt x="10" y="196"/>
                  </a:lnTo>
                  <a:lnTo>
                    <a:pt x="33" y="196"/>
                  </a:lnTo>
                  <a:lnTo>
                    <a:pt x="69" y="196"/>
                  </a:lnTo>
                  <a:lnTo>
                    <a:pt x="95" y="201"/>
                  </a:lnTo>
                  <a:lnTo>
                    <a:pt x="111" y="185"/>
                  </a:lnTo>
                  <a:lnTo>
                    <a:pt x="121" y="162"/>
                  </a:lnTo>
                  <a:lnTo>
                    <a:pt x="141" y="152"/>
                  </a:lnTo>
                  <a:lnTo>
                    <a:pt x="165" y="149"/>
                  </a:lnTo>
                  <a:lnTo>
                    <a:pt x="180" y="134"/>
                  </a:lnTo>
                  <a:lnTo>
                    <a:pt x="183" y="116"/>
                  </a:lnTo>
                  <a:lnTo>
                    <a:pt x="206" y="113"/>
                  </a:lnTo>
                  <a:lnTo>
                    <a:pt x="219" y="98"/>
                  </a:lnTo>
                  <a:lnTo>
                    <a:pt x="239" y="88"/>
                  </a:lnTo>
                  <a:lnTo>
                    <a:pt x="268" y="75"/>
                  </a:lnTo>
                  <a:lnTo>
                    <a:pt x="288" y="67"/>
                  </a:lnTo>
                  <a:lnTo>
                    <a:pt x="306" y="57"/>
                  </a:lnTo>
                  <a:lnTo>
                    <a:pt x="327" y="49"/>
                  </a:lnTo>
                  <a:lnTo>
                    <a:pt x="342" y="39"/>
                  </a:lnTo>
                  <a:lnTo>
                    <a:pt x="368" y="39"/>
                  </a:lnTo>
                  <a:lnTo>
                    <a:pt x="353" y="54"/>
                  </a:lnTo>
                  <a:lnTo>
                    <a:pt x="358" y="70"/>
                  </a:lnTo>
                  <a:lnTo>
                    <a:pt x="376" y="59"/>
                  </a:lnTo>
                  <a:lnTo>
                    <a:pt x="396" y="52"/>
                  </a:lnTo>
                  <a:lnTo>
                    <a:pt x="412" y="33"/>
                  </a:lnTo>
                  <a:lnTo>
                    <a:pt x="427" y="18"/>
                  </a:lnTo>
                  <a:lnTo>
                    <a:pt x="445" y="8"/>
                  </a:lnTo>
                  <a:lnTo>
                    <a:pt x="463" y="0"/>
                  </a:lnTo>
                  <a:lnTo>
                    <a:pt x="463" y="18"/>
                  </a:lnTo>
                  <a:lnTo>
                    <a:pt x="448" y="36"/>
                  </a:lnTo>
                  <a:lnTo>
                    <a:pt x="432" y="52"/>
                  </a:lnTo>
                  <a:lnTo>
                    <a:pt x="430" y="72"/>
                  </a:lnTo>
                  <a:lnTo>
                    <a:pt x="445" y="82"/>
                  </a:lnTo>
                  <a:lnTo>
                    <a:pt x="479" y="77"/>
                  </a:lnTo>
                  <a:lnTo>
                    <a:pt x="499" y="75"/>
                  </a:lnTo>
                  <a:lnTo>
                    <a:pt x="515" y="85"/>
                  </a:lnTo>
                  <a:lnTo>
                    <a:pt x="523" y="100"/>
                  </a:lnTo>
                  <a:lnTo>
                    <a:pt x="530" y="116"/>
                  </a:lnTo>
                  <a:lnTo>
                    <a:pt x="535" y="129"/>
                  </a:lnTo>
                  <a:lnTo>
                    <a:pt x="559" y="129"/>
                  </a:lnTo>
                  <a:lnTo>
                    <a:pt x="569" y="152"/>
                  </a:lnTo>
                  <a:lnTo>
                    <a:pt x="582" y="154"/>
                  </a:lnTo>
                  <a:lnTo>
                    <a:pt x="584" y="16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Ovale 175">
            <a:extLst>
              <a:ext uri="{FF2B5EF4-FFF2-40B4-BE49-F238E27FC236}">
                <a16:creationId xmlns:a16="http://schemas.microsoft.com/office/drawing/2014/main" id="{035823F4-C3DB-8C70-084F-B57FB9D3AE5C}"/>
              </a:ext>
            </a:extLst>
          </p:cNvPr>
          <p:cNvSpPr/>
          <p:nvPr/>
        </p:nvSpPr>
        <p:spPr>
          <a:xfrm>
            <a:off x="6736533" y="802280"/>
            <a:ext cx="656066" cy="63931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17B676D0-B2B7-F6D1-CFE9-40EEE562BA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73" imgH="473" progId="TCLayout.ActiveDocument.1">
                  <p:embed/>
                </p:oleObj>
              </mc:Choice>
              <mc:Fallback>
                <p:oleObj name="Diapositiva think-cell" r:id="rId3" imgW="473" imgH="473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17B676D0-B2B7-F6D1-CFE9-40EEE562BA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6">
            <a:extLst>
              <a:ext uri="{FF2B5EF4-FFF2-40B4-BE49-F238E27FC236}">
                <a16:creationId xmlns:a16="http://schemas.microsoft.com/office/drawing/2014/main" id="{48B8D939-603F-467E-BBFC-B5AFCE57A7D0}"/>
              </a:ext>
            </a:extLst>
          </p:cNvPr>
          <p:cNvSpPr txBox="1"/>
          <p:nvPr/>
        </p:nvSpPr>
        <p:spPr>
          <a:xfrm>
            <a:off x="736113" y="321741"/>
            <a:ext cx="5044061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1" spc="12" dirty="0">
                <a:solidFill>
                  <a:srgbClr val="1D3880"/>
                </a:solidFill>
                <a:latin typeface="Graphik" panose="020B0503030202060203" pitchFamily="34" charset="0"/>
                <a:cs typeface="Rubik Bold" panose="020B0604020202020204"/>
              </a:rPr>
              <a:t>LA PLATEA DEI BENEFICIARI</a:t>
            </a:r>
            <a:endParaRPr kumimoji="0" lang="it-IT" sz="2800" b="1" i="0" u="none" strike="noStrike" kern="1200" cap="none" spc="12" normalizeH="0" baseline="0" noProof="0" dirty="0">
              <a:ln>
                <a:noFill/>
              </a:ln>
              <a:solidFill>
                <a:srgbClr val="1D388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Rubik Bold" panose="020B0604020202020204"/>
            </a:endParaRPr>
          </a:p>
        </p:txBody>
      </p:sp>
      <p:sp>
        <p:nvSpPr>
          <p:cNvPr id="15" name="Rettangolo 17">
            <a:extLst>
              <a:ext uri="{FF2B5EF4-FFF2-40B4-BE49-F238E27FC236}">
                <a16:creationId xmlns:a16="http://schemas.microsoft.com/office/drawing/2014/main" id="{F2F0734B-03AB-4479-B8A5-101ECAFA3BC1}"/>
              </a:ext>
            </a:extLst>
          </p:cNvPr>
          <p:cNvSpPr/>
          <p:nvPr/>
        </p:nvSpPr>
        <p:spPr>
          <a:xfrm>
            <a:off x="1520058" y="2358755"/>
            <a:ext cx="4847280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>
                <a:latin typeface="Graphik" panose="020B0503030202060203" pitchFamily="34" charset="0"/>
                <a:cs typeface="Arial" panose="020B0604020202020204" pitchFamily="34" charset="0"/>
              </a:rPr>
              <a:t>Rappresentazione dei Comuni coinvolti dall’iniziativa per la macroarea Nord-Ovest (Lombardia, Piemonte, Liguria, Valle d’Aosta) e Ragionerie territoriali di riferimento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latin typeface="Graphik" panose="020B0503030202060203" pitchFamily="34" charset="0"/>
                <a:cs typeface="Arial" panose="020B0604020202020204" pitchFamily="34" charset="0"/>
              </a:rPr>
              <a:t>Numero di progetti dell’area Nord-Ovest aggiornati al 13/04/2023</a:t>
            </a:r>
            <a:r>
              <a:rPr lang="it-IT" sz="2400" b="1" dirty="0">
                <a:latin typeface="Graphik" panose="020B0503030202060203" pitchFamily="34" charset="0"/>
                <a:cs typeface="Arial" panose="020B0604020202020204" pitchFamily="34" charset="0"/>
              </a:rPr>
              <a:t>: </a:t>
            </a:r>
            <a:r>
              <a:rPr lang="it-IT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5.354 </a:t>
            </a:r>
            <a:r>
              <a:rPr lang="it-IT" b="1" dirty="0">
                <a:latin typeface="Graphik" panose="020B0503030202060203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b="1" dirty="0"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eam di </a:t>
            </a:r>
            <a:r>
              <a:rPr lang="it-IT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88 funzionari e 14 dirigenti 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he gestiscono le richieste, coordinati dalla DG della RTS Milano/MB, beneficiando di un confronto costante con il Servizio Centrale della Ragioneria Generale dello Stato, che gestisce la governance del piano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i="0" strike="noStrike" kern="1200" cap="none" spc="0" normalizeH="0" baseline="0" noProof="0" dirty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6" name="Ovale 175">
            <a:extLst>
              <a:ext uri="{FF2B5EF4-FFF2-40B4-BE49-F238E27FC236}">
                <a16:creationId xmlns:a16="http://schemas.microsoft.com/office/drawing/2014/main" id="{8F43EDEE-7899-494B-8A17-EC5E07E5164E}"/>
              </a:ext>
            </a:extLst>
          </p:cNvPr>
          <p:cNvSpPr/>
          <p:nvPr/>
        </p:nvSpPr>
        <p:spPr>
          <a:xfrm>
            <a:off x="5888533" y="1315867"/>
            <a:ext cx="571697" cy="55132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7" name="Ovale 176">
            <a:extLst>
              <a:ext uri="{FF2B5EF4-FFF2-40B4-BE49-F238E27FC236}">
                <a16:creationId xmlns:a16="http://schemas.microsoft.com/office/drawing/2014/main" id="{93A66051-E92B-4D21-941F-ED6E58146C66}"/>
              </a:ext>
            </a:extLst>
          </p:cNvPr>
          <p:cNvSpPr/>
          <p:nvPr/>
        </p:nvSpPr>
        <p:spPr>
          <a:xfrm>
            <a:off x="5561881" y="1362647"/>
            <a:ext cx="527584" cy="336993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FFFFFF"/>
                </a:solidFill>
                <a:latin typeface="Calibri" panose="020F0502020204030204"/>
              </a:rPr>
              <a:t>5</a:t>
            </a:r>
          </a:p>
        </p:txBody>
      </p:sp>
      <p:pic>
        <p:nvPicPr>
          <p:cNvPr id="89" name="Picture 32" descr="Logo&#10;&#10;Description automatically generated">
            <a:extLst>
              <a:ext uri="{FF2B5EF4-FFF2-40B4-BE49-F238E27FC236}">
                <a16:creationId xmlns:a16="http://schemas.microsoft.com/office/drawing/2014/main" id="{1E3CE4DF-EFC9-6291-916B-DE22B0B86C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26091" y="6293816"/>
            <a:ext cx="351082" cy="294908"/>
          </a:xfrm>
          <a:prstGeom prst="rect">
            <a:avLst/>
          </a:prstGeom>
        </p:spPr>
      </p:pic>
      <p:sp>
        <p:nvSpPr>
          <p:cNvPr id="3" name="AutoShape 3">
            <a:extLst>
              <a:ext uri="{FF2B5EF4-FFF2-40B4-BE49-F238E27FC236}">
                <a16:creationId xmlns:a16="http://schemas.microsoft.com/office/drawing/2014/main" id="{7DF789A6-747B-4834-682E-5E95DFBB1F5D}"/>
              </a:ext>
            </a:extLst>
          </p:cNvPr>
          <p:cNvSpPr/>
          <p:nvPr/>
        </p:nvSpPr>
        <p:spPr>
          <a:xfrm>
            <a:off x="740076" y="1277409"/>
            <a:ext cx="2335554" cy="100977"/>
          </a:xfrm>
          <a:prstGeom prst="rect">
            <a:avLst/>
          </a:prstGeom>
          <a:solidFill>
            <a:srgbClr val="5F81C2"/>
          </a:solidFill>
        </p:spPr>
        <p:txBody>
          <a:bodyPr/>
          <a:lstStyle/>
          <a:p>
            <a:endParaRPr lang="it-IT"/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5ED69251-2315-A0B3-0CAE-AD5B37773902}"/>
              </a:ext>
            </a:extLst>
          </p:cNvPr>
          <p:cNvSpPr/>
          <p:nvPr/>
        </p:nvSpPr>
        <p:spPr>
          <a:xfrm>
            <a:off x="-114550" y="-12296"/>
            <a:ext cx="351082" cy="6858000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endParaRPr lang="it-IT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EFD4727-37BA-B0B0-BA67-19553EFFDD2B}"/>
              </a:ext>
            </a:extLst>
          </p:cNvPr>
          <p:cNvSpPr txBox="1"/>
          <p:nvPr/>
        </p:nvSpPr>
        <p:spPr>
          <a:xfrm>
            <a:off x="5957614" y="1558566"/>
            <a:ext cx="758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/>
              <a:t>1181</a:t>
            </a:r>
          </a:p>
        </p:txBody>
      </p:sp>
      <p:sp>
        <p:nvSpPr>
          <p:cNvPr id="151" name="Ovale 89">
            <a:extLst>
              <a:ext uri="{FF2B5EF4-FFF2-40B4-BE49-F238E27FC236}">
                <a16:creationId xmlns:a16="http://schemas.microsoft.com/office/drawing/2014/main" id="{D62536B0-A039-4038-A71C-815B5A9DCDCF}"/>
              </a:ext>
            </a:extLst>
          </p:cNvPr>
          <p:cNvSpPr/>
          <p:nvPr/>
        </p:nvSpPr>
        <p:spPr>
          <a:xfrm>
            <a:off x="9590312" y="5752034"/>
            <a:ext cx="642368" cy="63587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e 89">
            <a:extLst>
              <a:ext uri="{FF2B5EF4-FFF2-40B4-BE49-F238E27FC236}">
                <a16:creationId xmlns:a16="http://schemas.microsoft.com/office/drawing/2014/main" id="{7EC0C4D8-7BFA-252C-2AE8-BDAD5CEFC81A}"/>
              </a:ext>
            </a:extLst>
          </p:cNvPr>
          <p:cNvSpPr/>
          <p:nvPr/>
        </p:nvSpPr>
        <p:spPr>
          <a:xfrm>
            <a:off x="6808291" y="1149283"/>
            <a:ext cx="483345" cy="358392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>
                <a:solidFill>
                  <a:srgbClr val="FFFFFF"/>
                </a:solidFill>
                <a:latin typeface="Calibri" panose="020F0502020204030204"/>
              </a:rPr>
              <a:t>6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2" name="Ovale 195">
            <a:extLst>
              <a:ext uri="{FF2B5EF4-FFF2-40B4-BE49-F238E27FC236}">
                <a16:creationId xmlns:a16="http://schemas.microsoft.com/office/drawing/2014/main" id="{17CAE9D1-B00D-4EA7-B323-7F962EA9B8C2}"/>
              </a:ext>
            </a:extLst>
          </p:cNvPr>
          <p:cNvSpPr/>
          <p:nvPr/>
        </p:nvSpPr>
        <p:spPr>
          <a:xfrm>
            <a:off x="9644774" y="6027913"/>
            <a:ext cx="324000" cy="324000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BA359C9-DB18-255C-1397-C6C86A3BD2C6}"/>
              </a:ext>
            </a:extLst>
          </p:cNvPr>
          <p:cNvSpPr txBox="1"/>
          <p:nvPr/>
        </p:nvSpPr>
        <p:spPr>
          <a:xfrm>
            <a:off x="6874072" y="874562"/>
            <a:ext cx="758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/>
              <a:t>1506</a:t>
            </a:r>
          </a:p>
        </p:txBody>
      </p:sp>
      <p:sp>
        <p:nvSpPr>
          <p:cNvPr id="56" name="Ovale 175">
            <a:extLst>
              <a:ext uri="{FF2B5EF4-FFF2-40B4-BE49-F238E27FC236}">
                <a16:creationId xmlns:a16="http://schemas.microsoft.com/office/drawing/2014/main" id="{1BC926A5-CECD-2836-9B5E-637E7FA6B2AB}"/>
              </a:ext>
            </a:extLst>
          </p:cNvPr>
          <p:cNvSpPr/>
          <p:nvPr/>
        </p:nvSpPr>
        <p:spPr>
          <a:xfrm>
            <a:off x="6429134" y="1914810"/>
            <a:ext cx="423559" cy="392067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e 89">
            <a:extLst>
              <a:ext uri="{FF2B5EF4-FFF2-40B4-BE49-F238E27FC236}">
                <a16:creationId xmlns:a16="http://schemas.microsoft.com/office/drawing/2014/main" id="{AE0F3052-1AD7-459A-0138-60A9C748EE01}"/>
              </a:ext>
            </a:extLst>
          </p:cNvPr>
          <p:cNvSpPr/>
          <p:nvPr/>
        </p:nvSpPr>
        <p:spPr>
          <a:xfrm>
            <a:off x="6429107" y="2105721"/>
            <a:ext cx="290158" cy="208644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>
                <a:solidFill>
                  <a:srgbClr val="FFFFFF"/>
                </a:solidFill>
                <a:latin typeface="Calibri" panose="020F0502020204030204"/>
              </a:rPr>
              <a:t>2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04AD264-4C27-029A-34B7-0AF9C780026C}"/>
              </a:ext>
            </a:extLst>
          </p:cNvPr>
          <p:cNvSpPr txBox="1"/>
          <p:nvPr/>
        </p:nvSpPr>
        <p:spPr>
          <a:xfrm>
            <a:off x="6414916" y="1869780"/>
            <a:ext cx="758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/>
              <a:t>234</a:t>
            </a:r>
          </a:p>
        </p:txBody>
      </p:sp>
      <p:sp>
        <p:nvSpPr>
          <p:cNvPr id="128" name="Ovale 89">
            <a:extLst>
              <a:ext uri="{FF2B5EF4-FFF2-40B4-BE49-F238E27FC236}">
                <a16:creationId xmlns:a16="http://schemas.microsoft.com/office/drawing/2014/main" id="{A02432B3-2DF7-46B8-A5C6-9644C0F37659}"/>
              </a:ext>
            </a:extLst>
          </p:cNvPr>
          <p:cNvSpPr/>
          <p:nvPr/>
        </p:nvSpPr>
        <p:spPr>
          <a:xfrm>
            <a:off x="10671467" y="4624092"/>
            <a:ext cx="616690" cy="56072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Ovale 195">
            <a:extLst>
              <a:ext uri="{FF2B5EF4-FFF2-40B4-BE49-F238E27FC236}">
                <a16:creationId xmlns:a16="http://schemas.microsoft.com/office/drawing/2014/main" id="{DFF0E05C-36D9-4D7C-8FCE-57A4A8C1B23D}"/>
              </a:ext>
            </a:extLst>
          </p:cNvPr>
          <p:cNvSpPr/>
          <p:nvPr/>
        </p:nvSpPr>
        <p:spPr>
          <a:xfrm>
            <a:off x="10718807" y="4845091"/>
            <a:ext cx="311049" cy="309680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541AC2FE-432D-44BD-A5DD-97E9E6C5BDE3}"/>
              </a:ext>
            </a:extLst>
          </p:cNvPr>
          <p:cNvSpPr txBox="1"/>
          <p:nvPr/>
        </p:nvSpPr>
        <p:spPr>
          <a:xfrm>
            <a:off x="10727155" y="4887426"/>
            <a:ext cx="31104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>
                <a:solidFill>
                  <a:schemeClr val="bg1"/>
                </a:solidFill>
              </a:rPr>
              <a:t> </a:t>
            </a:r>
            <a:endParaRPr lang="it-IT" sz="1050" b="1" dirty="0">
              <a:solidFill>
                <a:schemeClr val="bg1"/>
              </a:solidFill>
            </a:endParaRPr>
          </a:p>
        </p:txBody>
      </p:sp>
      <p:sp>
        <p:nvSpPr>
          <p:cNvPr id="135" name="Ovale 89">
            <a:extLst>
              <a:ext uri="{FF2B5EF4-FFF2-40B4-BE49-F238E27FC236}">
                <a16:creationId xmlns:a16="http://schemas.microsoft.com/office/drawing/2014/main" id="{B80D0F9C-E383-40E5-87AB-52C0676D6A0D}"/>
              </a:ext>
            </a:extLst>
          </p:cNvPr>
          <p:cNvSpPr/>
          <p:nvPr/>
        </p:nvSpPr>
        <p:spPr>
          <a:xfrm>
            <a:off x="10785135" y="3307176"/>
            <a:ext cx="598557" cy="57582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6" name="Ovale 195">
            <a:extLst>
              <a:ext uri="{FF2B5EF4-FFF2-40B4-BE49-F238E27FC236}">
                <a16:creationId xmlns:a16="http://schemas.microsoft.com/office/drawing/2014/main" id="{617C1D0D-2E7C-4CA0-9B38-480AFD2261B8}"/>
              </a:ext>
            </a:extLst>
          </p:cNvPr>
          <p:cNvSpPr/>
          <p:nvPr/>
        </p:nvSpPr>
        <p:spPr>
          <a:xfrm>
            <a:off x="10861398" y="3590314"/>
            <a:ext cx="268227" cy="258228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5" name="Ovale 175">
            <a:extLst>
              <a:ext uri="{FF2B5EF4-FFF2-40B4-BE49-F238E27FC236}">
                <a16:creationId xmlns:a16="http://schemas.microsoft.com/office/drawing/2014/main" id="{B83B5F55-C452-6309-3D7E-49AFF95C1492}"/>
              </a:ext>
            </a:extLst>
          </p:cNvPr>
          <p:cNvSpPr/>
          <p:nvPr/>
        </p:nvSpPr>
        <p:spPr>
          <a:xfrm>
            <a:off x="7526294" y="389275"/>
            <a:ext cx="423559" cy="392067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Ovale 89">
            <a:extLst>
              <a:ext uri="{FF2B5EF4-FFF2-40B4-BE49-F238E27FC236}">
                <a16:creationId xmlns:a16="http://schemas.microsoft.com/office/drawing/2014/main" id="{DD6D1F7F-4D18-A22E-A6D9-866EC2B98A38}"/>
              </a:ext>
            </a:extLst>
          </p:cNvPr>
          <p:cNvSpPr/>
          <p:nvPr/>
        </p:nvSpPr>
        <p:spPr>
          <a:xfrm>
            <a:off x="7576183" y="589185"/>
            <a:ext cx="178825" cy="178825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2" name="Ovale 89">
            <a:extLst>
              <a:ext uri="{FF2B5EF4-FFF2-40B4-BE49-F238E27FC236}">
                <a16:creationId xmlns:a16="http://schemas.microsoft.com/office/drawing/2014/main" id="{3CFD7178-FF68-4AE2-BBCF-526CB38DA095}"/>
              </a:ext>
            </a:extLst>
          </p:cNvPr>
          <p:cNvSpPr/>
          <p:nvPr/>
        </p:nvSpPr>
        <p:spPr>
          <a:xfrm>
            <a:off x="9501844" y="3815518"/>
            <a:ext cx="539219" cy="527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3" name="Ovale 195">
            <a:extLst>
              <a:ext uri="{FF2B5EF4-FFF2-40B4-BE49-F238E27FC236}">
                <a16:creationId xmlns:a16="http://schemas.microsoft.com/office/drawing/2014/main" id="{359440BC-D46D-4BF2-BC56-8550908546DF}"/>
              </a:ext>
            </a:extLst>
          </p:cNvPr>
          <p:cNvSpPr/>
          <p:nvPr/>
        </p:nvSpPr>
        <p:spPr>
          <a:xfrm>
            <a:off x="9550949" y="4050117"/>
            <a:ext cx="263209" cy="243098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70" name="Ovale 175">
            <a:extLst>
              <a:ext uri="{FF2B5EF4-FFF2-40B4-BE49-F238E27FC236}">
                <a16:creationId xmlns:a16="http://schemas.microsoft.com/office/drawing/2014/main" id="{4D9BA691-DA70-1646-7DAF-56C9687A60D2}"/>
              </a:ext>
            </a:extLst>
          </p:cNvPr>
          <p:cNvSpPr/>
          <p:nvPr/>
        </p:nvSpPr>
        <p:spPr>
          <a:xfrm>
            <a:off x="8457506" y="394993"/>
            <a:ext cx="423559" cy="392067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Ovale 89">
            <a:extLst>
              <a:ext uri="{FF2B5EF4-FFF2-40B4-BE49-F238E27FC236}">
                <a16:creationId xmlns:a16="http://schemas.microsoft.com/office/drawing/2014/main" id="{7FC30B2C-E24C-ED85-72D4-F7A7AD7CB2BF}"/>
              </a:ext>
            </a:extLst>
          </p:cNvPr>
          <p:cNvSpPr/>
          <p:nvPr/>
        </p:nvSpPr>
        <p:spPr>
          <a:xfrm>
            <a:off x="8507395" y="594903"/>
            <a:ext cx="178825" cy="178825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Ovale 175">
            <a:extLst>
              <a:ext uri="{FF2B5EF4-FFF2-40B4-BE49-F238E27FC236}">
                <a16:creationId xmlns:a16="http://schemas.microsoft.com/office/drawing/2014/main" id="{44F4DD03-4E2E-7141-B5B6-553CC620CFDF}"/>
              </a:ext>
            </a:extLst>
          </p:cNvPr>
          <p:cNvSpPr/>
          <p:nvPr/>
        </p:nvSpPr>
        <p:spPr>
          <a:xfrm>
            <a:off x="7888135" y="910140"/>
            <a:ext cx="530551" cy="53535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Ovale 89">
            <a:extLst>
              <a:ext uri="{FF2B5EF4-FFF2-40B4-BE49-F238E27FC236}">
                <a16:creationId xmlns:a16="http://schemas.microsoft.com/office/drawing/2014/main" id="{F14D7865-DB87-D473-04F8-2911996DC314}"/>
              </a:ext>
            </a:extLst>
          </p:cNvPr>
          <p:cNvSpPr/>
          <p:nvPr/>
        </p:nvSpPr>
        <p:spPr>
          <a:xfrm>
            <a:off x="7937345" y="1195044"/>
            <a:ext cx="230517" cy="212406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Ovale 175">
            <a:extLst>
              <a:ext uri="{FF2B5EF4-FFF2-40B4-BE49-F238E27FC236}">
                <a16:creationId xmlns:a16="http://schemas.microsoft.com/office/drawing/2014/main" id="{2198827D-77CA-5D1D-644C-42BDAFB32C2C}"/>
              </a:ext>
            </a:extLst>
          </p:cNvPr>
          <p:cNvSpPr/>
          <p:nvPr/>
        </p:nvSpPr>
        <p:spPr>
          <a:xfrm>
            <a:off x="7564340" y="1560288"/>
            <a:ext cx="477807" cy="43321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e 89">
            <a:extLst>
              <a:ext uri="{FF2B5EF4-FFF2-40B4-BE49-F238E27FC236}">
                <a16:creationId xmlns:a16="http://schemas.microsoft.com/office/drawing/2014/main" id="{EFDCE02D-31A7-4C3F-E01A-4A8EC170FBA8}"/>
              </a:ext>
            </a:extLst>
          </p:cNvPr>
          <p:cNvSpPr/>
          <p:nvPr/>
        </p:nvSpPr>
        <p:spPr>
          <a:xfrm>
            <a:off x="7614229" y="1760198"/>
            <a:ext cx="245165" cy="233303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0" name="Ovale 195">
            <a:extLst>
              <a:ext uri="{FF2B5EF4-FFF2-40B4-BE49-F238E27FC236}">
                <a16:creationId xmlns:a16="http://schemas.microsoft.com/office/drawing/2014/main" id="{9700B393-5D31-45E7-9891-DCD8612B2311}"/>
              </a:ext>
            </a:extLst>
          </p:cNvPr>
          <p:cNvSpPr/>
          <p:nvPr/>
        </p:nvSpPr>
        <p:spPr>
          <a:xfrm>
            <a:off x="7204861" y="4650424"/>
            <a:ext cx="260420" cy="253917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86" name="Ovale 175">
            <a:extLst>
              <a:ext uri="{FF2B5EF4-FFF2-40B4-BE49-F238E27FC236}">
                <a16:creationId xmlns:a16="http://schemas.microsoft.com/office/drawing/2014/main" id="{D1330D27-573A-2226-C0C7-2667C1A4E29D}"/>
              </a:ext>
            </a:extLst>
          </p:cNvPr>
          <p:cNvSpPr/>
          <p:nvPr/>
        </p:nvSpPr>
        <p:spPr>
          <a:xfrm>
            <a:off x="7698873" y="2307930"/>
            <a:ext cx="529037" cy="45386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Ovale 89">
            <a:extLst>
              <a:ext uri="{FF2B5EF4-FFF2-40B4-BE49-F238E27FC236}">
                <a16:creationId xmlns:a16="http://schemas.microsoft.com/office/drawing/2014/main" id="{091B39A0-C3BB-2C24-DBBF-10E1F8EDAF5C}"/>
              </a:ext>
            </a:extLst>
          </p:cNvPr>
          <p:cNvSpPr/>
          <p:nvPr/>
        </p:nvSpPr>
        <p:spPr>
          <a:xfrm>
            <a:off x="7759545" y="2464158"/>
            <a:ext cx="337476" cy="292001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Ovale 195">
            <a:extLst>
              <a:ext uri="{FF2B5EF4-FFF2-40B4-BE49-F238E27FC236}">
                <a16:creationId xmlns:a16="http://schemas.microsoft.com/office/drawing/2014/main" id="{AA87D000-57CE-4714-BC6A-2F249B0F22C3}"/>
              </a:ext>
            </a:extLst>
          </p:cNvPr>
          <p:cNvSpPr/>
          <p:nvPr/>
        </p:nvSpPr>
        <p:spPr>
          <a:xfrm>
            <a:off x="9735465" y="3341614"/>
            <a:ext cx="157651" cy="150180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1CB1FE94-6879-445B-8689-610FC0E357BB}"/>
              </a:ext>
            </a:extLst>
          </p:cNvPr>
          <p:cNvSpPr txBox="1"/>
          <p:nvPr/>
        </p:nvSpPr>
        <p:spPr>
          <a:xfrm>
            <a:off x="9702891" y="3127821"/>
            <a:ext cx="15765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>
                <a:solidFill>
                  <a:schemeClr val="bg1"/>
                </a:solidFill>
              </a:rPr>
              <a:t> </a:t>
            </a:r>
            <a:endParaRPr lang="it-IT" sz="1050" b="1" dirty="0">
              <a:solidFill>
                <a:schemeClr val="bg1"/>
              </a:solidFill>
            </a:endParaRPr>
          </a:p>
        </p:txBody>
      </p:sp>
      <p:sp>
        <p:nvSpPr>
          <p:cNvPr id="104" name="Ovale 175">
            <a:extLst>
              <a:ext uri="{FF2B5EF4-FFF2-40B4-BE49-F238E27FC236}">
                <a16:creationId xmlns:a16="http://schemas.microsoft.com/office/drawing/2014/main" id="{B945D94A-4442-DD1D-2BFA-657BFA272F5B}"/>
              </a:ext>
            </a:extLst>
          </p:cNvPr>
          <p:cNvSpPr/>
          <p:nvPr/>
        </p:nvSpPr>
        <p:spPr>
          <a:xfrm>
            <a:off x="8805678" y="2096370"/>
            <a:ext cx="443720" cy="45037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Ovale 176">
            <a:extLst>
              <a:ext uri="{FF2B5EF4-FFF2-40B4-BE49-F238E27FC236}">
                <a16:creationId xmlns:a16="http://schemas.microsoft.com/office/drawing/2014/main" id="{AC106D73-699F-B773-B596-B5022022EDAB}"/>
              </a:ext>
            </a:extLst>
          </p:cNvPr>
          <p:cNvSpPr/>
          <p:nvPr/>
        </p:nvSpPr>
        <p:spPr>
          <a:xfrm>
            <a:off x="8820561" y="2273019"/>
            <a:ext cx="311356" cy="278005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Ovale 175">
            <a:extLst>
              <a:ext uri="{FF2B5EF4-FFF2-40B4-BE49-F238E27FC236}">
                <a16:creationId xmlns:a16="http://schemas.microsoft.com/office/drawing/2014/main" id="{8C5F9912-5B97-445B-8B68-EA30FF02E44E}"/>
              </a:ext>
            </a:extLst>
          </p:cNvPr>
          <p:cNvSpPr/>
          <p:nvPr/>
        </p:nvSpPr>
        <p:spPr>
          <a:xfrm>
            <a:off x="9210279" y="2795879"/>
            <a:ext cx="443720" cy="45037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Ovale 176">
            <a:extLst>
              <a:ext uri="{FF2B5EF4-FFF2-40B4-BE49-F238E27FC236}">
                <a16:creationId xmlns:a16="http://schemas.microsoft.com/office/drawing/2014/main" id="{88BF8935-FAFE-45C5-9AB2-D7AA5B560F12}"/>
              </a:ext>
            </a:extLst>
          </p:cNvPr>
          <p:cNvSpPr/>
          <p:nvPr/>
        </p:nvSpPr>
        <p:spPr>
          <a:xfrm>
            <a:off x="9225162" y="2972528"/>
            <a:ext cx="311356" cy="278005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Ovale 175">
            <a:extLst>
              <a:ext uri="{FF2B5EF4-FFF2-40B4-BE49-F238E27FC236}">
                <a16:creationId xmlns:a16="http://schemas.microsoft.com/office/drawing/2014/main" id="{84B48CA0-83D1-4044-9F7E-ECEF4EBD6D82}"/>
              </a:ext>
            </a:extLst>
          </p:cNvPr>
          <p:cNvSpPr/>
          <p:nvPr/>
        </p:nvSpPr>
        <p:spPr>
          <a:xfrm>
            <a:off x="8404562" y="3136367"/>
            <a:ext cx="530551" cy="53535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Ovale 89">
            <a:extLst>
              <a:ext uri="{FF2B5EF4-FFF2-40B4-BE49-F238E27FC236}">
                <a16:creationId xmlns:a16="http://schemas.microsoft.com/office/drawing/2014/main" id="{F9E21878-6D91-407D-A4DB-73BC8C091908}"/>
              </a:ext>
            </a:extLst>
          </p:cNvPr>
          <p:cNvSpPr/>
          <p:nvPr/>
        </p:nvSpPr>
        <p:spPr>
          <a:xfrm>
            <a:off x="8475692" y="3420178"/>
            <a:ext cx="230517" cy="212406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Ovale 195">
            <a:extLst>
              <a:ext uri="{FF2B5EF4-FFF2-40B4-BE49-F238E27FC236}">
                <a16:creationId xmlns:a16="http://schemas.microsoft.com/office/drawing/2014/main" id="{7AF30C22-880C-43F9-AA0F-291C980CFEF7}"/>
              </a:ext>
            </a:extLst>
          </p:cNvPr>
          <p:cNvSpPr/>
          <p:nvPr/>
        </p:nvSpPr>
        <p:spPr>
          <a:xfrm>
            <a:off x="10630771" y="4091713"/>
            <a:ext cx="157651" cy="150180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07" name="Ovale 175">
            <a:extLst>
              <a:ext uri="{FF2B5EF4-FFF2-40B4-BE49-F238E27FC236}">
                <a16:creationId xmlns:a16="http://schemas.microsoft.com/office/drawing/2014/main" id="{303A6B7C-3CCD-40ED-91D4-9CE0B52F1E3E}"/>
              </a:ext>
            </a:extLst>
          </p:cNvPr>
          <p:cNvSpPr/>
          <p:nvPr/>
        </p:nvSpPr>
        <p:spPr>
          <a:xfrm>
            <a:off x="8352294" y="2489427"/>
            <a:ext cx="437430" cy="41144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Ovale 89">
            <a:extLst>
              <a:ext uri="{FF2B5EF4-FFF2-40B4-BE49-F238E27FC236}">
                <a16:creationId xmlns:a16="http://schemas.microsoft.com/office/drawing/2014/main" id="{44CCA877-82A4-44A6-819E-A97C80EFFC11}"/>
              </a:ext>
            </a:extLst>
          </p:cNvPr>
          <p:cNvSpPr/>
          <p:nvPr/>
        </p:nvSpPr>
        <p:spPr>
          <a:xfrm>
            <a:off x="8409793" y="2714448"/>
            <a:ext cx="176853" cy="174895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Ovale 175">
            <a:extLst>
              <a:ext uri="{FF2B5EF4-FFF2-40B4-BE49-F238E27FC236}">
                <a16:creationId xmlns:a16="http://schemas.microsoft.com/office/drawing/2014/main" id="{462E2624-62F8-826C-ED33-3C326DB4A100}"/>
              </a:ext>
            </a:extLst>
          </p:cNvPr>
          <p:cNvSpPr/>
          <p:nvPr/>
        </p:nvSpPr>
        <p:spPr>
          <a:xfrm>
            <a:off x="5524103" y="1015921"/>
            <a:ext cx="595978" cy="25643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b="1" dirty="0">
                <a:solidFill>
                  <a:schemeClr val="tx1"/>
                </a:solidFill>
              </a:rPr>
              <a:t>74</a:t>
            </a:r>
          </a:p>
        </p:txBody>
      </p:sp>
      <p:sp>
        <p:nvSpPr>
          <p:cNvPr id="35" name="Ovale 195">
            <a:extLst>
              <a:ext uri="{FF2B5EF4-FFF2-40B4-BE49-F238E27FC236}">
                <a16:creationId xmlns:a16="http://schemas.microsoft.com/office/drawing/2014/main" id="{2561F9DC-74E0-1DB5-C0B3-887AB080D386}"/>
              </a:ext>
            </a:extLst>
          </p:cNvPr>
          <p:cNvSpPr/>
          <p:nvPr/>
        </p:nvSpPr>
        <p:spPr>
          <a:xfrm>
            <a:off x="5400524" y="896696"/>
            <a:ext cx="260420" cy="253917"/>
          </a:xfrm>
          <a:prstGeom prst="ellipse">
            <a:avLst/>
          </a:prstGeom>
          <a:solidFill>
            <a:srgbClr val="1D3880"/>
          </a:solidFill>
          <a:ln>
            <a:solidFill>
              <a:srgbClr val="1D38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FFFFFF"/>
                </a:solidFill>
                <a:latin typeface="Calibri" panose="020F0502020204030204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65590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 hidden="1">
            <a:extLst>
              <a:ext uri="{FF2B5EF4-FFF2-40B4-BE49-F238E27FC236}">
                <a16:creationId xmlns:a16="http://schemas.microsoft.com/office/drawing/2014/main" id="{EF01B9F5-46B1-F0C6-68DE-D19EE19CCFF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pPr rtl="0">
              <a:spcAft>
                <a:spcPts val="600"/>
              </a:spcAft>
            </a:pPr>
            <a:r>
              <a:rPr lang="it-IT" noProof="0"/>
              <a:t>03/09/20XX</a:t>
            </a:r>
          </a:p>
        </p:txBody>
      </p:sp>
      <p:sp>
        <p:nvSpPr>
          <p:cNvPr id="4" name="Segnaposto numero diapositiva 3" hidden="1">
            <a:extLst>
              <a:ext uri="{FF2B5EF4-FFF2-40B4-BE49-F238E27FC236}">
                <a16:creationId xmlns:a16="http://schemas.microsoft.com/office/drawing/2014/main" id="{D64F2621-E3EE-B942-6EC3-9CB00BBD7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>
              <a:spcAft>
                <a:spcPts val="600"/>
              </a:spcAft>
            </a:pPr>
            <a:fld id="{D8DA9DAA-006C-4F4B-980E-E3DF019B24E2}" type="slidenum">
              <a:rPr lang="it-IT" noProof="0" smtClean="0"/>
              <a:pPr rtl="0">
                <a:spcAft>
                  <a:spcPts val="600"/>
                </a:spcAft>
              </a:pPr>
              <a:t>5</a:t>
            </a:fld>
            <a:endParaRPr lang="it-IT" noProof="0"/>
          </a:p>
        </p:txBody>
      </p:sp>
      <p:pic>
        <p:nvPicPr>
          <p:cNvPr id="2054" name="Picture 6" descr="Gestioni Associate: un esempio di taglio dalla Regione Liguria">
            <a:extLst>
              <a:ext uri="{FF2B5EF4-FFF2-40B4-BE49-F238E27FC236}">
                <a16:creationId xmlns:a16="http://schemas.microsoft.com/office/drawing/2014/main" id="{0835BA61-BA39-B1D5-8C93-66B5D0889F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365" y="476250"/>
            <a:ext cx="3857285" cy="2847975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ccia in su 10">
            <a:extLst>
              <a:ext uri="{FF2B5EF4-FFF2-40B4-BE49-F238E27FC236}">
                <a16:creationId xmlns:a16="http://schemas.microsoft.com/office/drawing/2014/main" id="{40A03D7B-4649-2222-C400-F68C066A604D}"/>
              </a:ext>
            </a:extLst>
          </p:cNvPr>
          <p:cNvSpPr/>
          <p:nvPr/>
        </p:nvSpPr>
        <p:spPr>
          <a:xfrm flipH="1">
            <a:off x="10648949" y="2867025"/>
            <a:ext cx="638175" cy="112394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AECF5B04-C388-953E-F338-EE36CF4FC5BB}"/>
              </a:ext>
            </a:extLst>
          </p:cNvPr>
          <p:cNvSpPr txBox="1"/>
          <p:nvPr/>
        </p:nvSpPr>
        <p:spPr>
          <a:xfrm>
            <a:off x="981075" y="428030"/>
            <a:ext cx="57435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>
                <a:solidFill>
                  <a:schemeClr val="accent2"/>
                </a:solidFill>
              </a:rPr>
              <a:t>I dati di LA SPEZIA.</a:t>
            </a:r>
          </a:p>
          <a:p>
            <a:pPr algn="ctr"/>
            <a:endParaRPr lang="it-IT" sz="2000" b="1" dirty="0"/>
          </a:p>
          <a:p>
            <a:pPr algn="ctr"/>
            <a:endParaRPr lang="it-IT" sz="2000" b="1" dirty="0"/>
          </a:p>
        </p:txBody>
      </p:sp>
      <p:graphicFrame>
        <p:nvGraphicFramePr>
          <p:cNvPr id="17" name="Tabella 17">
            <a:extLst>
              <a:ext uri="{FF2B5EF4-FFF2-40B4-BE49-F238E27FC236}">
                <a16:creationId xmlns:a16="http://schemas.microsoft.com/office/drawing/2014/main" id="{6CCAC7F7-CDED-80F3-9C38-9A2C09BE4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05870"/>
              </p:ext>
            </p:extLst>
          </p:nvPr>
        </p:nvGraphicFramePr>
        <p:xfrm>
          <a:off x="269875" y="1110189"/>
          <a:ext cx="7321551" cy="5673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0517">
                  <a:extLst>
                    <a:ext uri="{9D8B030D-6E8A-4147-A177-3AD203B41FA5}">
                      <a16:colId xmlns:a16="http://schemas.microsoft.com/office/drawing/2014/main" val="3288344490"/>
                    </a:ext>
                  </a:extLst>
                </a:gridCol>
                <a:gridCol w="2440517">
                  <a:extLst>
                    <a:ext uri="{9D8B030D-6E8A-4147-A177-3AD203B41FA5}">
                      <a16:colId xmlns:a16="http://schemas.microsoft.com/office/drawing/2014/main" val="3257788665"/>
                    </a:ext>
                  </a:extLst>
                </a:gridCol>
                <a:gridCol w="2440517">
                  <a:extLst>
                    <a:ext uri="{9D8B030D-6E8A-4147-A177-3AD203B41FA5}">
                      <a16:colId xmlns:a16="http://schemas.microsoft.com/office/drawing/2014/main" val="2321567815"/>
                    </a:ext>
                  </a:extLst>
                </a:gridCol>
              </a:tblGrid>
              <a:tr h="1006634">
                <a:tc>
                  <a:txBody>
                    <a:bodyPr/>
                    <a:lstStyle/>
                    <a:p>
                      <a:r>
                        <a:rPr lang="it-IT" dirty="0"/>
                        <a:t>LE PRINCIPALI MISURE PNRR PER IMPOR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Somma di PRG - Costo ammesso proget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Somma di PRG - Finanziamento tota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6782303"/>
                  </a:ext>
                </a:extLst>
              </a:tr>
              <a:tr h="1040188">
                <a:tc>
                  <a:txBody>
                    <a:bodyPr/>
                    <a:lstStyle/>
                    <a:p>
                      <a:r>
                        <a:rPr lang="it-IT" sz="1600" dirty="0"/>
                        <a:t>M2C4I2.2 Interventi per la resilienza, la valorizzazione del territorio e l'efficienza energetica dei Comu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56.642.243,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63.413.248,6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40925"/>
                  </a:ext>
                </a:extLst>
              </a:tr>
              <a:tr h="687566">
                <a:tc>
                  <a:txBody>
                    <a:bodyPr/>
                    <a:lstStyle/>
                    <a:p>
                      <a:r>
                        <a:rPr lang="it-IT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2C2I4.1.1 Ciclovie Turisti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9.293.478,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32.293.480,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4846487"/>
                  </a:ext>
                </a:extLst>
              </a:tr>
              <a:tr h="104018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IT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4C1I3.3 Piano di messa in sicurezza e riqualificazione dell'edilizia scolasti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8.548.767,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8.548.767,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3462263"/>
                  </a:ext>
                </a:extLst>
              </a:tr>
              <a:tr h="68756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IT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5C1I2.1 Servizio civile univers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4.019.917,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0.617.526,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7476292"/>
                  </a:ext>
                </a:extLst>
              </a:tr>
              <a:tr h="704644">
                <a:tc>
                  <a:txBody>
                    <a:bodyPr/>
                    <a:lstStyle/>
                    <a:p>
                      <a:r>
                        <a:rPr lang="it-IT" b="1" dirty="0"/>
                        <a:t>IMPORTO TOTALITA’ MISURE DEL PIA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5.538.008,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5.287.063,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175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0660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6485278-3D07-466F-8351-667A2EBEA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algn="ctr" rtl="0"/>
            <a:r>
              <a:rPr lang="it-IT" dirty="0">
                <a:solidFill>
                  <a:schemeClr val="bg2">
                    <a:lumMod val="50000"/>
                  </a:schemeClr>
                </a:solidFill>
              </a:rPr>
              <a:t>Le fasi del supporto</a:t>
            </a:r>
            <a:endParaRPr lang="it-IT" dirty="0"/>
          </a:p>
        </p:txBody>
      </p:sp>
      <p:graphicFrame>
        <p:nvGraphicFramePr>
          <p:cNvPr id="14" name="Segnaposto contenuto 6" descr="elemento grafico SmartArt elemento grafico">
            <a:extLst>
              <a:ext uri="{FF2B5EF4-FFF2-40B4-BE49-F238E27FC236}">
                <a16:creationId xmlns:a16="http://schemas.microsoft.com/office/drawing/2014/main" id="{CEC6DA80-0404-4CED-A682-9D41A16B341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4675225"/>
              </p:ext>
            </p:extLst>
          </p:nvPr>
        </p:nvGraphicFramePr>
        <p:xfrm>
          <a:off x="904875" y="1325879"/>
          <a:ext cx="10448925" cy="5166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32" descr="Logo&#10;&#10;Description automatically generated">
            <a:extLst>
              <a:ext uri="{FF2B5EF4-FFF2-40B4-BE49-F238E27FC236}">
                <a16:creationId xmlns:a16="http://schemas.microsoft.com/office/drawing/2014/main" id="{FBECDA7C-9012-814D-69F6-18DCD1245E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26091" y="6293816"/>
            <a:ext cx="351082" cy="294908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DB7D3858-B1B8-B2E3-44C4-9A8554C08452}"/>
              </a:ext>
            </a:extLst>
          </p:cNvPr>
          <p:cNvSpPr txBox="1"/>
          <p:nvPr/>
        </p:nvSpPr>
        <p:spPr>
          <a:xfrm>
            <a:off x="3038475" y="2409825"/>
            <a:ext cx="176212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rtl="0"/>
            <a:r>
              <a:rPr lang="it-IT" sz="1400" dirty="0"/>
              <a:t>M</a:t>
            </a:r>
            <a:r>
              <a:rPr lang="it-IT" sz="1400" noProof="0" dirty="0" err="1"/>
              <a:t>appatura</a:t>
            </a:r>
            <a:r>
              <a:rPr lang="it-IT" sz="1400" noProof="0" dirty="0"/>
              <a:t> dei progetti relativa a tre misure: </a:t>
            </a:r>
            <a:r>
              <a:rPr lang="it-IT" sz="1400" b="1" dirty="0"/>
              <a:t>M1C3I2.1</a:t>
            </a:r>
            <a:r>
              <a:rPr lang="it-IT" sz="1400" dirty="0"/>
              <a:t>_Attrattività dei borghi</a:t>
            </a:r>
            <a:endParaRPr lang="it-IT" sz="1400" noProof="0" dirty="0"/>
          </a:p>
          <a:p>
            <a:pPr lvl="0"/>
            <a:r>
              <a:rPr lang="it-IT" sz="1400" b="1" dirty="0"/>
              <a:t>M4C1I1.1</a:t>
            </a:r>
            <a:r>
              <a:rPr lang="it-IT" sz="1400" dirty="0"/>
              <a:t>_Asili nido</a:t>
            </a:r>
          </a:p>
          <a:p>
            <a:pPr lvl="0"/>
            <a:r>
              <a:rPr lang="it-IT" sz="1400" b="1" dirty="0"/>
              <a:t>M2C4I2.2</a:t>
            </a:r>
            <a:r>
              <a:rPr lang="it-IT" sz="1400" dirty="0"/>
              <a:t>_Piccole-medie opere.</a:t>
            </a:r>
          </a:p>
          <a:p>
            <a:endParaRPr lang="it-IT" sz="1400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E08F6BBB-625E-3232-0983-EC55848A1E4F}"/>
              </a:ext>
            </a:extLst>
          </p:cNvPr>
          <p:cNvSpPr txBox="1"/>
          <p:nvPr/>
        </p:nvSpPr>
        <p:spPr>
          <a:xfrm>
            <a:off x="5214937" y="2548731"/>
            <a:ext cx="176212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Univers"/>
              </a:rPr>
              <a:t>Verifica di ammissibilità dei progetti rispetto ai requisiti PNRR</a:t>
            </a:r>
          </a:p>
          <a:p>
            <a:endParaRPr lang="it-IT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7951D771-A475-910D-219E-545582876C56}"/>
              </a:ext>
            </a:extLst>
          </p:cNvPr>
          <p:cNvSpPr txBox="1"/>
          <p:nvPr/>
        </p:nvSpPr>
        <p:spPr>
          <a:xfrm>
            <a:off x="7239000" y="2514600"/>
            <a:ext cx="176212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Univers"/>
              </a:rPr>
              <a:t>Supporto ai Comuni nella gestione del progetto e nel monitoraggio su Regis- SESSIONI FORMATIVE</a:t>
            </a:r>
          </a:p>
          <a:p>
            <a:endParaRPr lang="it-IT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50B6FDC-0AF9-870D-A17B-F231DCE58B90}"/>
              </a:ext>
            </a:extLst>
          </p:cNvPr>
          <p:cNvSpPr txBox="1"/>
          <p:nvPr/>
        </p:nvSpPr>
        <p:spPr>
          <a:xfrm>
            <a:off x="9296400" y="2548731"/>
            <a:ext cx="1762125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Univers"/>
              </a:rPr>
              <a:t>Verifica di ammissibilità delle piccole opere;</a:t>
            </a:r>
          </a:p>
          <a:p>
            <a:r>
              <a:rPr lang="it-IT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Univers"/>
              </a:rPr>
              <a:t>Estensione del processo alla totalità delle misure del Piano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F404FAB4-4A1F-5EC1-ADC1-D817F97A197F}"/>
              </a:ext>
            </a:extLst>
          </p:cNvPr>
          <p:cNvSpPr txBox="1"/>
          <p:nvPr/>
        </p:nvSpPr>
        <p:spPr>
          <a:xfrm>
            <a:off x="1000125" y="2514600"/>
            <a:ext cx="17764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/>
              <a:t>Mappatura dello stato di attivazione dei progetti e delle esigenze formative</a:t>
            </a:r>
          </a:p>
        </p:txBody>
      </p:sp>
    </p:spTree>
    <p:extLst>
      <p:ext uri="{BB962C8B-B14F-4D97-AF65-F5344CB8AC3E}">
        <p14:creationId xmlns:p14="http://schemas.microsoft.com/office/powerpoint/2010/main" val="983851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0115FF41-AFA4-4D25-AB42-AB034F4B4F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0"/>
            <a:ext cx="8225028" cy="790575"/>
          </a:xfrm>
        </p:spPr>
        <p:txBody>
          <a:bodyPr rtlCol="0">
            <a:normAutofit/>
          </a:bodyPr>
          <a:lstStyle/>
          <a:p>
            <a:pPr algn="ctr" rtl="0"/>
            <a:r>
              <a:rPr lang="it-IT" sz="4000" dirty="0">
                <a:solidFill>
                  <a:schemeClr val="bg2">
                    <a:lumMod val="50000"/>
                  </a:schemeClr>
                </a:solidFill>
              </a:rPr>
              <a:t>Gli strumenti messi in camp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881FA9-F3B0-4912-B0E1-352094195C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300" y="1066801"/>
            <a:ext cx="6713883" cy="5600699"/>
          </a:xfrm>
        </p:spPr>
        <p:txBody>
          <a:bodyPr rtlCol="0">
            <a:normAutofit fontScale="92500" lnSpcReduction="20000"/>
          </a:bodyPr>
          <a:lstStyle/>
          <a:p>
            <a:pPr rtl="0"/>
            <a:r>
              <a:rPr lang="it-IT" b="1" dirty="0"/>
              <a:t>Casella di supporto</a:t>
            </a:r>
            <a:r>
              <a:rPr lang="it-IT" dirty="0"/>
              <a:t>: 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arantisce un canale diretto, risolutivo ed autorevole per tutte le criticità che gli Enti del territorio incontrano nella gestione dei progetti PNRR. </a:t>
            </a:r>
            <a:r>
              <a:rPr lang="it-IT" sz="30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pnrr.supporto.rts.milano@mef.gov.it</a:t>
            </a:r>
            <a:endParaRPr lang="it-IT" dirty="0"/>
          </a:p>
          <a:p>
            <a:r>
              <a:rPr lang="it-IT" sz="2100" b="1" dirty="0"/>
              <a:t>Questionari in modalità </a:t>
            </a:r>
            <a:r>
              <a:rPr lang="it-IT" sz="2100" b="1" dirty="0" err="1"/>
              <a:t>webform</a:t>
            </a:r>
            <a:r>
              <a:rPr lang="it-IT" sz="1800" b="1" dirty="0">
                <a:latin typeface="Calibri" panose="020F0502020204030204" pitchFamily="34" charset="0"/>
              </a:rPr>
              <a:t>: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finalizzati a conoscere lo stato dei progetti su Regis, a raccogliere esigenze formative ed a sondare le principali difficoltà nella gestione dei progetti. </a:t>
            </a: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</a:rPr>
              <a:t>Questionari per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verificare l’aderenza al reale del dato presente su Regis, raccogliere esigenze di profilazione e veicolarle verso l’assistenza tecnica del Servizio Centrale.</a:t>
            </a:r>
          </a:p>
          <a:p>
            <a:r>
              <a:rPr lang="it-IT" sz="2100" b="1" dirty="0"/>
              <a:t>Organizzazione di momenti formativi: </a:t>
            </a:r>
            <a:r>
              <a:rPr lang="it-IT" sz="1800" dirty="0">
                <a:latin typeface="Calibri" panose="020F0502020204030204" pitchFamily="34" charset="0"/>
              </a:rPr>
              <a:t>raccolta sul territorio di esigenze formative su tutti gli aspetti connessi al PNRR, compreso l’utilizzo del sistema applicativo Regis, al fine di organizzare incontri in presenza/da remoto per affrontare le tematiche di maggior interesse, anche con la partecipazione dell’assistenza tecnica Regis. Calendario di incontri formativi in atto per il popolamento del sistema per la misura M2C4I2.2.</a:t>
            </a:r>
          </a:p>
          <a:p>
            <a:r>
              <a:rPr lang="it-IT" b="1" dirty="0"/>
              <a:t>Collaborazione con ANCI- sedi di Liguria, Piemonte e Lombardia: </a:t>
            </a:r>
            <a:r>
              <a:rPr lang="it-IT" sz="1800" dirty="0">
                <a:latin typeface="Calibri" panose="020F0502020204030204" pitchFamily="34" charset="0"/>
              </a:rPr>
              <a:t>creazione di un dialogo collaborativo per supportare i Soggetti Attuatori nella gestione dei progetti PNRR. Incontri periodici per la risoluzione dei quesiti pervenuti.</a:t>
            </a:r>
          </a:p>
          <a:p>
            <a:pPr rtl="0"/>
            <a:endParaRPr lang="it-IT" dirty="0"/>
          </a:p>
        </p:txBody>
      </p:sp>
      <p:pic>
        <p:nvPicPr>
          <p:cNvPr id="2" name="Picture 32" descr="Logo&#10;&#10;Description automatically generated">
            <a:extLst>
              <a:ext uri="{FF2B5EF4-FFF2-40B4-BE49-F238E27FC236}">
                <a16:creationId xmlns:a16="http://schemas.microsoft.com/office/drawing/2014/main" id="{55874A7D-D5A1-A989-481D-0E3EC4C075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26091" y="6293816"/>
            <a:ext cx="351082" cy="294908"/>
          </a:xfrm>
          <a:prstGeom prst="rect">
            <a:avLst/>
          </a:prstGeom>
        </p:spPr>
      </p:pic>
      <p:pic>
        <p:nvPicPr>
          <p:cNvPr id="2050" name="Picture 2" descr="Ambienti di lavoro sempre più smart e agili: i migliori strumenti di  collaboration">
            <a:extLst>
              <a:ext uri="{FF2B5EF4-FFF2-40B4-BE49-F238E27FC236}">
                <a16:creationId xmlns:a16="http://schemas.microsoft.com/office/drawing/2014/main" id="{8D677041-8FAA-2BB3-568F-273B1A2EFA95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00" r="22000"/>
          <a:stretch>
            <a:fillRect/>
          </a:stretch>
        </p:blipFill>
        <p:spPr bwMode="auto">
          <a:xfrm>
            <a:off x="7040880" y="1066801"/>
            <a:ext cx="4817814" cy="5304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3349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3DD2A09A-85DF-D0E6-249D-F5ABC51BB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121" y="704850"/>
            <a:ext cx="3805429" cy="5021036"/>
          </a:xfrm>
        </p:spPr>
        <p:txBody>
          <a:bodyPr>
            <a:normAutofit fontScale="90000"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b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it-IT" sz="2400" b="1" dirty="0">
                <a:solidFill>
                  <a:schemeClr val="bg2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ntesi della ripartizione delle competenze, come da linee guida del 14/3/2023 per gli adempimenti di monitoraggio, rendicontazione e controllo delle Misure a titolarità del Ministero dell’Interno.</a:t>
            </a:r>
            <a:br>
              <a:rPr lang="it-IT" sz="2400" b="1" dirty="0">
                <a:solidFill>
                  <a:schemeClr val="bg2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it-IT" sz="2400" b="1" dirty="0">
                <a:solidFill>
                  <a:schemeClr val="bg2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it-IT" sz="2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2" name="Picture 32" descr="Logo&#10;&#10;Description automatically generated">
            <a:extLst>
              <a:ext uri="{FF2B5EF4-FFF2-40B4-BE49-F238E27FC236}">
                <a16:creationId xmlns:a16="http://schemas.microsoft.com/office/drawing/2014/main" id="{E5C3B7F8-09D0-DED3-CE1A-6E85FC1133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6091" y="6293816"/>
            <a:ext cx="351082" cy="294908"/>
          </a:xfrm>
          <a:prstGeom prst="rect">
            <a:avLst/>
          </a:prstGeom>
        </p:spPr>
      </p:pic>
      <p:graphicFrame>
        <p:nvGraphicFramePr>
          <p:cNvPr id="23" name="Tabella 23">
            <a:extLst>
              <a:ext uri="{FF2B5EF4-FFF2-40B4-BE49-F238E27FC236}">
                <a16:creationId xmlns:a16="http://schemas.microsoft.com/office/drawing/2014/main" id="{E1B8748C-776B-9648-6624-0B6549633B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079990"/>
              </p:ext>
            </p:extLst>
          </p:nvPr>
        </p:nvGraphicFramePr>
        <p:xfrm>
          <a:off x="4019549" y="206829"/>
          <a:ext cx="7606541" cy="62821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4191">
                  <a:extLst>
                    <a:ext uri="{9D8B030D-6E8A-4147-A177-3AD203B41FA5}">
                      <a16:colId xmlns:a16="http://schemas.microsoft.com/office/drawing/2014/main" val="1158331166"/>
                    </a:ext>
                  </a:extLst>
                </a:gridCol>
                <a:gridCol w="3722350">
                  <a:extLst>
                    <a:ext uri="{9D8B030D-6E8A-4147-A177-3AD203B41FA5}">
                      <a16:colId xmlns:a16="http://schemas.microsoft.com/office/drawing/2014/main" val="2798149666"/>
                    </a:ext>
                  </a:extLst>
                </a:gridCol>
              </a:tblGrid>
              <a:tr h="590084">
                <a:tc>
                  <a:txBody>
                    <a:bodyPr/>
                    <a:lstStyle/>
                    <a:p>
                      <a:pPr algn="ctr"/>
                      <a:r>
                        <a:rPr lang="it-IT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GIONERIE TERRITORIALI</a:t>
                      </a:r>
                      <a:endParaRPr lang="it-IT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FETTURE</a:t>
                      </a:r>
                      <a:endParaRPr lang="it-IT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9595018"/>
                  </a:ext>
                </a:extLst>
              </a:tr>
              <a:tr h="20344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cognizione delle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igenze di profilazione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lle utenze sul sistema Regis e assistenza alla profilazione;</a:t>
                      </a:r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464025"/>
                  </a:ext>
                </a:extLst>
              </a:tr>
              <a:tr h="36238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ifiche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liminari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la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letezza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i dati inseriti nel sistema </a:t>
                      </a:r>
                      <a:r>
                        <a:rPr lang="it-IT" sz="18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 i singoli progetti a titolarità dei Comuni/Enti territoriali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 validazione della completezza dei dati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 della relativa documentazione mediante compilazione di apposita check-list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Assistenza ai Soggetti attuatori per il completamento dei dati/documentazione eventualmente mancante;</a:t>
                      </a:r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ifica di carattere formale 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documentazione </a:t>
                      </a:r>
                      <a:r>
                        <a:rPr lang="it-IT" sz="1800" b="1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 rendicontazione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mplementata dal Soggetto attuatore </a:t>
                      </a:r>
                      <a:r>
                        <a:rPr lang="it-IT" sz="1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 rappresentano attività propedeutiche a sbloccare i pagamenti in favore dei Soggetti Attuatori</a:t>
                      </a:r>
                      <a:r>
                        <a:rPr lang="it-IT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  <a:endParaRPr lang="it-IT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64437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5879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2" descr="Logo&#10;&#10;Description automatically generated">
            <a:extLst>
              <a:ext uri="{FF2B5EF4-FFF2-40B4-BE49-F238E27FC236}">
                <a16:creationId xmlns:a16="http://schemas.microsoft.com/office/drawing/2014/main" id="{F672ABC0-E401-4520-2F00-D3555DC53B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26091" y="6293816"/>
            <a:ext cx="351082" cy="294908"/>
          </a:xfrm>
          <a:prstGeom prst="rect">
            <a:avLst/>
          </a:prstGeom>
        </p:spPr>
      </p:pic>
      <p:graphicFrame>
        <p:nvGraphicFramePr>
          <p:cNvPr id="6" name="Tabella 23">
            <a:extLst>
              <a:ext uri="{FF2B5EF4-FFF2-40B4-BE49-F238E27FC236}">
                <a16:creationId xmlns:a16="http://schemas.microsoft.com/office/drawing/2014/main" id="{2EFED485-320C-AE80-2B5E-A4201979A2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952640"/>
              </p:ext>
            </p:extLst>
          </p:nvPr>
        </p:nvGraphicFramePr>
        <p:xfrm>
          <a:off x="1524001" y="-2"/>
          <a:ext cx="9925050" cy="6766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72546">
                  <a:extLst>
                    <a:ext uri="{9D8B030D-6E8A-4147-A177-3AD203B41FA5}">
                      <a16:colId xmlns:a16="http://schemas.microsoft.com/office/drawing/2014/main" val="1158331166"/>
                    </a:ext>
                  </a:extLst>
                </a:gridCol>
                <a:gridCol w="5152504">
                  <a:extLst>
                    <a:ext uri="{9D8B030D-6E8A-4147-A177-3AD203B41FA5}">
                      <a16:colId xmlns:a16="http://schemas.microsoft.com/office/drawing/2014/main" val="2798149666"/>
                    </a:ext>
                  </a:extLst>
                </a:gridCol>
              </a:tblGrid>
              <a:tr h="6135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GIONERIE TERRITORIALI</a:t>
                      </a:r>
                      <a:endParaRPr lang="it-IT" dirty="0"/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FETTURE</a:t>
                      </a:r>
                      <a:endParaRPr lang="it-IT" dirty="0"/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9595018"/>
                  </a:ext>
                </a:extLst>
              </a:tr>
              <a:tr h="5872937">
                <a:tc>
                  <a:txBody>
                    <a:bodyPr/>
                    <a:lstStyle/>
                    <a:p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predette verifiche di completezza dei dati e documentale includono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’accertamento della presenza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lle: </a:t>
                      </a:r>
                      <a:r>
                        <a:rPr lang="it-IT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) </a:t>
                      </a:r>
                      <a:r>
                        <a:rPr lang="it-IT" sz="1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estazioni obbligatorie specifiche per il PNRR</a:t>
                      </a:r>
                      <a:r>
                        <a:rPr lang="it-IT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NSH, assenza di conflitti di interesse; doppio finanziamento); </a:t>
                      </a:r>
                      <a:r>
                        <a:rPr lang="it-IT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</a:t>
                      </a:r>
                      <a:r>
                        <a:rPr lang="it-IT" sz="18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la completezza dei dati e la presenza della documentazione occorrente per la rendicontazione 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atture quietanzate, determina a contrarre; contratto; documentazione di gara).</a:t>
                      </a:r>
                      <a:endParaRPr lang="it-IT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 predette verifiche formali saranno effettuate sul 100% dei rendiconti presentati, mediante una check list di controllo formale, al fine di verificare i seguenti elementi:</a:t>
                      </a:r>
                    </a:p>
                    <a:p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idenza delle attività di auto-controllo svolte dal Soggetto attuatore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 -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petto dei termini iniziali e finali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rettezza del CUP e dell’importo richiesto a rimborso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senza di un sistema di procedure interne al soggetto attuatore in materia di prevenzione delle frodi, conflitti d’interesse, corruzione e doppio finanziamento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retta valorizzazione dei dati di attuazione finanziaria, fisica e procedurale nonché dei valori di conseguimento degli indicatori legati 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 eventuali milestone e target sul sistema </a:t>
                      </a:r>
                      <a:r>
                        <a:rPr lang="it-IT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S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petto dei requisiti di ammissibilità al finanziamento del PNRR</a:t>
                      </a:r>
                      <a:r>
                        <a:rPr lang="it-IT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endParaRPr lang="it-IT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it-IT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4640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0680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adientUnivers">
  <a:themeElements>
    <a:clrScheme name="Gradient">
      <a:dk1>
        <a:sysClr val="windowText" lastClr="000000"/>
      </a:dk1>
      <a:lt1>
        <a:sysClr val="window" lastClr="FFFFFF"/>
      </a:lt1>
      <a:dk2>
        <a:srgbClr val="10013F"/>
      </a:dk2>
      <a:lt2>
        <a:srgbClr val="F2F0FF"/>
      </a:lt2>
      <a:accent1>
        <a:srgbClr val="814DFF"/>
      </a:accent1>
      <a:accent2>
        <a:srgbClr val="243FFF"/>
      </a:accent2>
      <a:accent3>
        <a:srgbClr val="FF83B6"/>
      </a:accent3>
      <a:accent4>
        <a:srgbClr val="FF9022"/>
      </a:accent4>
      <a:accent5>
        <a:srgbClr val="FF1F85"/>
      </a:accent5>
      <a:accent6>
        <a:srgbClr val="1A98FF"/>
      </a:accent6>
      <a:hlink>
        <a:srgbClr val="0563C1"/>
      </a:hlink>
      <a:folHlink>
        <a:srgbClr val="954F72"/>
      </a:folHlink>
    </a:clrScheme>
    <a:fontScheme name="Univers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48167111_TF89338750_Win32" id="{E55A3EA0-BE54-4F8C-A3F8-63B170F23C1F}" vid="{1423E9D6-3A8B-4DFB-B348-1EC550DAAC1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adient">
    <a:dk1>
      <a:sysClr val="windowText" lastClr="000000"/>
    </a:dk1>
    <a:lt1>
      <a:sysClr val="window" lastClr="FFFFFF"/>
    </a:lt1>
    <a:dk2>
      <a:srgbClr val="10013F"/>
    </a:dk2>
    <a:lt2>
      <a:srgbClr val="F2F0FF"/>
    </a:lt2>
    <a:accent1>
      <a:srgbClr val="814DFF"/>
    </a:accent1>
    <a:accent2>
      <a:srgbClr val="243FFF"/>
    </a:accent2>
    <a:accent3>
      <a:srgbClr val="FF83B6"/>
    </a:accent3>
    <a:accent4>
      <a:srgbClr val="FF9022"/>
    </a:accent4>
    <a:accent5>
      <a:srgbClr val="FF1F85"/>
    </a:accent5>
    <a:accent6>
      <a:srgbClr val="1A98FF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Gradient">
    <a:dk1>
      <a:sysClr val="windowText" lastClr="000000"/>
    </a:dk1>
    <a:lt1>
      <a:sysClr val="window" lastClr="FFFFFF"/>
    </a:lt1>
    <a:dk2>
      <a:srgbClr val="10013F"/>
    </a:dk2>
    <a:lt2>
      <a:srgbClr val="F2F0FF"/>
    </a:lt2>
    <a:accent1>
      <a:srgbClr val="814DFF"/>
    </a:accent1>
    <a:accent2>
      <a:srgbClr val="243FFF"/>
    </a:accent2>
    <a:accent3>
      <a:srgbClr val="FF83B6"/>
    </a:accent3>
    <a:accent4>
      <a:srgbClr val="FF9022"/>
    </a:accent4>
    <a:accent5>
      <a:srgbClr val="FF1F85"/>
    </a:accent5>
    <a:accent6>
      <a:srgbClr val="1A98FF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426e97fa315356fffbdcd9876fe988c2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14b8f0def80e6d70ce3def20c90759ae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3C8E00D1-8EA3-4E42-801D-0253E1EAFC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C329F5-30EE-4BF7-AA2A-B837B51416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9919F73-B6C2-4A43-95E2-833EC48925FE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3</TotalTime>
  <Words>1139</Words>
  <Application>Microsoft Office PowerPoint</Application>
  <PresentationFormat>Widescreen</PresentationFormat>
  <Paragraphs>98</Paragraphs>
  <Slides>11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18" baseType="lpstr">
      <vt:lpstr>Albertus MT Lt</vt:lpstr>
      <vt:lpstr>Arial</vt:lpstr>
      <vt:lpstr>Calibri</vt:lpstr>
      <vt:lpstr>Graphik</vt:lpstr>
      <vt:lpstr>Univers</vt:lpstr>
      <vt:lpstr>GradientUnivers</vt:lpstr>
      <vt:lpstr>Diapositiva think-cell</vt:lpstr>
      <vt:lpstr>DIREZIONE GENERALE NORD-OVEST Assistenza tecnica offerta dai presidi territoriali della Ragioneria Generale dello Stato </vt:lpstr>
      <vt:lpstr>Allocazione delle risorse RRF a Missioni.</vt:lpstr>
      <vt:lpstr>Presentazione standard di PowerPoint</vt:lpstr>
      <vt:lpstr>Presentazione standard di PowerPoint</vt:lpstr>
      <vt:lpstr>Presentazione standard di PowerPoint</vt:lpstr>
      <vt:lpstr>Le fasi del supporto</vt:lpstr>
      <vt:lpstr>Gli strumenti messi in campo</vt:lpstr>
      <vt:lpstr>   Sintesi della ripartizione delle competenze, come da linee guida del 14/3/2023 per gli adempimenti di monitoraggio, rendicontazione e controllo delle Misure a titolarità del Ministero dell’Interno.  </vt:lpstr>
      <vt:lpstr>Presentazione standard di PowerPoint</vt:lpstr>
      <vt:lpstr>Presentazione standard di PowerPoint</vt:lpstr>
      <vt:lpstr>Molte mani rendono il lavoro leggero. (J.h.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REZIONE GENERALE NORD-OVEST Assistenza tecnica offerta dai presidi territoriali delle Ragionerie Generali dello Stato </dc:title>
  <dc:creator>Sandri Nicole</dc:creator>
  <cp:lastModifiedBy>Sandri Nicole</cp:lastModifiedBy>
  <cp:revision>63</cp:revision>
  <dcterms:created xsi:type="dcterms:W3CDTF">2023-01-20T15:08:38Z</dcterms:created>
  <dcterms:modified xsi:type="dcterms:W3CDTF">2023-04-15T13:5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